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701" r:id="rId5"/>
    <p:sldMasterId id="2147483723" r:id="rId6"/>
    <p:sldMasterId id="2147483742" r:id="rId7"/>
  </p:sldMasterIdLst>
  <p:notesMasterIdLst>
    <p:notesMasterId r:id="rId12"/>
  </p:notesMasterIdLst>
  <p:handoutMasterIdLst>
    <p:handoutMasterId r:id="rId13"/>
  </p:handoutMasterIdLst>
  <p:sldIdLst>
    <p:sldId id="2141411475" r:id="rId8"/>
    <p:sldId id="486" r:id="rId9"/>
    <p:sldId id="6462" r:id="rId10"/>
    <p:sldId id="2147376698" r:id="rId11"/>
  </p:sldIdLst>
  <p:sldSz cx="12192000" cy="6858000"/>
  <p:notesSz cx="7010400" cy="9296400"/>
  <p:embeddedFontLst>
    <p:embeddedFont>
      <p:font typeface="Futura Bold" panose="00000900000000000000" pitchFamily="2" charset="0"/>
      <p:regular r:id="rId14"/>
    </p:embeddedFont>
    <p:embeddedFont>
      <p:font typeface="Futura Medium" panose="00000400000000000000" pitchFamily="2" charset="0"/>
      <p:regular r:id="rId15"/>
      <p:bold r:id="rId16"/>
      <p:italic r:id="rId17"/>
      <p:boldItalic r:id="rId18"/>
    </p:embeddedFont>
    <p:embeddedFont>
      <p:font typeface="ShellBold" panose="00000800000000000000" pitchFamily="50" charset="0"/>
      <p:bold r:id="rId19"/>
    </p:embeddedFont>
    <p:embeddedFont>
      <p:font typeface="ShellMedium" panose="00000600000000000000" pitchFamily="50" charset="0"/>
      <p:regular r:id="rId20"/>
    </p:embeddedFont>
  </p:embeddedFontLst>
  <p:defaultTextStyle>
    <a:defPPr>
      <a:defRPr lang="en-US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  <p15:guide id="3" orient="horz" pos="2928">
          <p15:clr>
            <a:srgbClr val="A4A3A4"/>
          </p15:clr>
        </p15:guide>
        <p15:guide id="4" pos="2208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CCE9DB"/>
    <a:srgbClr val="99CDB7"/>
    <a:srgbClr val="66B492"/>
    <a:srgbClr val="339B6E"/>
    <a:srgbClr val="DFD1DE"/>
    <a:srgbClr val="C0A2BD"/>
    <a:srgbClr val="A0749B"/>
    <a:srgbClr val="81457A"/>
    <a:srgbClr val="CCD7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838" autoAdjust="0"/>
    <p:restoredTop sz="93979" autoAdjust="0"/>
  </p:normalViewPr>
  <p:slideViewPr>
    <p:cSldViewPr showGuides="1">
      <p:cViewPr varScale="1">
        <p:scale>
          <a:sx n="108" d="100"/>
          <a:sy n="108" d="100"/>
        </p:scale>
        <p:origin x="108" y="43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howGuides="1">
      <p:cViewPr varScale="1">
        <p:scale>
          <a:sx n="64" d="100"/>
          <a:sy n="64" d="100"/>
        </p:scale>
        <p:origin x="2160" y="72"/>
      </p:cViewPr>
      <p:guideLst>
        <p:guide orient="horz" pos="3127"/>
        <p:guide pos="2141"/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handoutMaster" Target="handoutMasters/handoutMaster1.xml"/><Relationship Id="rId18" Type="http://schemas.openxmlformats.org/officeDocument/2006/relationships/font" Target="fonts/font5.fntdata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Master" Target="slideMasters/slideMaster3.xml"/><Relationship Id="rId12" Type="http://schemas.openxmlformats.org/officeDocument/2006/relationships/notesMaster" Target="notesMasters/notesMaster1.xml"/><Relationship Id="rId17" Type="http://schemas.openxmlformats.org/officeDocument/2006/relationships/font" Target="fonts/font4.fntdata"/><Relationship Id="rId2" Type="http://schemas.openxmlformats.org/officeDocument/2006/relationships/customXml" Target="../customXml/item2.xml"/><Relationship Id="rId16" Type="http://schemas.openxmlformats.org/officeDocument/2006/relationships/font" Target="fonts/font3.fntdata"/><Relationship Id="rId20" Type="http://schemas.openxmlformats.org/officeDocument/2006/relationships/font" Target="fonts/font7.fntdata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4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1.xml"/><Relationship Id="rId15" Type="http://schemas.openxmlformats.org/officeDocument/2006/relationships/font" Target="fonts/font2.fntdata"/><Relationship Id="rId23" Type="http://schemas.openxmlformats.org/officeDocument/2006/relationships/theme" Target="theme/theme1.xml"/><Relationship Id="rId10" Type="http://schemas.openxmlformats.org/officeDocument/2006/relationships/slide" Target="slides/slide3.xml"/><Relationship Id="rId19" Type="http://schemas.openxmlformats.org/officeDocument/2006/relationships/font" Target="fonts/font6.fntdata"/><Relationship Id="rId4" Type="http://schemas.openxmlformats.org/officeDocument/2006/relationships/customXml" Target="../customXml/item4.xml"/><Relationship Id="rId9" Type="http://schemas.openxmlformats.org/officeDocument/2006/relationships/slide" Target="slides/slide2.xml"/><Relationship Id="rId14" Type="http://schemas.openxmlformats.org/officeDocument/2006/relationships/font" Target="fonts/font1.fntdata"/><Relationship Id="rId22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>
              <a:latin typeface="Futura Medium" pitchFamily="2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8688C09-A274-4C07-9395-CBE67C0DE912}" type="datetimeFigureOut">
              <a:rPr lang="en-GB" smtClean="0">
                <a:latin typeface="Futura Medium" pitchFamily="2" charset="0"/>
              </a:rPr>
              <a:pPr/>
              <a:t>16/03/2023</a:t>
            </a:fld>
            <a:endParaRPr lang="en-GB" dirty="0">
              <a:latin typeface="Futura Medium" pitchFamily="2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6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>
              <a:latin typeface="Futura Medium" pitchFamily="2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6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8B005D9-1AAC-4E6D-B9B3-BB8CB4FD9D30}" type="slidenum">
              <a:rPr lang="en-GB" smtClean="0">
                <a:latin typeface="Futura Medium" pitchFamily="2" charset="0"/>
              </a:rPr>
              <a:pPr/>
              <a:t>‹#›</a:t>
            </a:fld>
            <a:endParaRPr lang="en-GB" dirty="0">
              <a:latin typeface="Futura Medium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797357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Futura Medium" pitchFamily="2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Futura Medium" pitchFamily="2" charset="0"/>
              </a:defRPr>
            </a:lvl1pPr>
          </a:lstStyle>
          <a:p>
            <a:fld id="{E8910CE4-810D-4C84-B7AD-48C304FEA169}" type="datetimeFigureOut">
              <a:rPr lang="en-GB" smtClean="0"/>
              <a:pPr/>
              <a:t>16/03/2023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1" y="4415790"/>
            <a:ext cx="5608320" cy="41833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6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Futura Medium" pitchFamily="2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6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Futura Medium" pitchFamily="2" charset="0"/>
              </a:defRPr>
            </a:lvl1pPr>
          </a:lstStyle>
          <a:p>
            <a:fld id="{DE799493-6412-4470-9830-D005B358D66E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6289371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170" rtl="0" eaLnBrk="1" latinLnBrk="0" hangingPunct="1">
      <a:defRPr sz="1600" kern="1200">
        <a:solidFill>
          <a:schemeClr val="tx1"/>
        </a:solidFill>
        <a:latin typeface="Futura Medium" pitchFamily="2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Futura Medium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Futura Medium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Futura Medium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Futura Medium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Rectangle 102"/>
          <p:cNvSpPr/>
          <p:nvPr userDrawn="1"/>
        </p:nvSpPr>
        <p:spPr bwMode="gray">
          <a:xfrm>
            <a:off x="0" y="4313786"/>
            <a:ext cx="12192000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8" name="Rectangle 2"/>
          <p:cNvSpPr>
            <a:spLocks noGrp="1" noChangeArrowheads="1"/>
          </p:cNvSpPr>
          <p:nvPr userDrawn="1">
            <p:ph type="ctrTitle"/>
          </p:nvPr>
        </p:nvSpPr>
        <p:spPr>
          <a:xfrm>
            <a:off x="1779490" y="951614"/>
            <a:ext cx="9899747" cy="918000"/>
          </a:xfrm>
          <a:noFill/>
        </p:spPr>
        <p:txBody>
          <a:bodyPr lIns="0" tIns="0" rIns="0" anchor="ctr" anchorCtr="0"/>
          <a:lstStyle>
            <a:lvl1pPr>
              <a:lnSpc>
                <a:spcPct val="110000"/>
              </a:lnSpc>
              <a:defRPr sz="28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9" name="Rectangle 3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1779490" y="3310197"/>
            <a:ext cx="9899747" cy="749808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8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2" name="Text Placeholder 3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779490" y="4588235"/>
            <a:ext cx="7810528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33" name="Text Placeholder 31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779490" y="4840064"/>
            <a:ext cx="7810528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24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25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9" name="Rectangle 18" descr="&lt;Shell Yellow Bar&gt;" title="&lt;Shell Yellow Bar&gt;"/>
          <p:cNvSpPr/>
          <p:nvPr userDrawn="1"/>
        </p:nvSpPr>
        <p:spPr bwMode="gray">
          <a:xfrm>
            <a:off x="1778011" y="761998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20" name="Picture 19" descr="PECTE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000" y="645968"/>
            <a:ext cx="1524000" cy="1524000"/>
          </a:xfrm>
          <a:prstGeom prst="rect">
            <a:avLst/>
          </a:prstGeom>
        </p:spPr>
      </p:pic>
      <p:sp>
        <p:nvSpPr>
          <p:cNvPr id="8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7th November, 2018</a:t>
            </a:r>
            <a:endParaRPr lang="en-GB" dirty="0"/>
          </a:p>
        </p:txBody>
      </p:sp>
      <p:sp>
        <p:nvSpPr>
          <p:cNvPr id="8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 </a:t>
            </a:r>
            <a:endParaRPr lang="en-GB" dirty="0"/>
          </a:p>
        </p:txBody>
      </p:sp>
      <p:sp>
        <p:nvSpPr>
          <p:cNvPr id="15" name="TextBox 14" descr="CONFIDENTIAL_TAG_0xFFEE"/>
          <p:cNvSpPr txBox="1"/>
          <p:nvPr userDrawn="1"/>
        </p:nvSpPr>
        <p:spPr bwMode="auto">
          <a:xfrm>
            <a:off x="8466411" y="6469199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318667037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198">
          <p15:clr>
            <a:srgbClr val="FBAE40"/>
          </p15:clr>
        </p15:guide>
        <p15:guide id="4" pos="7357">
          <p15:clr>
            <a:srgbClr val="FBAE40"/>
          </p15:clr>
        </p15:guide>
        <p15:guide id="5" pos="1121">
          <p15:clr>
            <a:srgbClr val="FBAE40"/>
          </p15:clr>
        </p15:guide>
        <p15:guide id="6" orient="horz" pos="4074">
          <p15:clr>
            <a:srgbClr val="FBAE40"/>
          </p15:clr>
        </p15:guide>
        <p15:guide id="7" orient="horz" pos="216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Content Placeholder 51"/>
          <p:cNvSpPr>
            <a:spLocks noGrp="1"/>
          </p:cNvSpPr>
          <p:nvPr>
            <p:ph sz="quarter" idx="29" hasCustomPrompt="1"/>
          </p:nvPr>
        </p:nvSpPr>
        <p:spPr>
          <a:xfrm>
            <a:off x="509312" y="6201069"/>
            <a:ext cx="5543051" cy="158455"/>
          </a:xfrm>
        </p:spPr>
        <p:txBody>
          <a:bodyPr wrap="square">
            <a:noAutofit/>
          </a:bodyPr>
          <a:lstStyle>
            <a:lvl1pPr>
              <a:defRPr sz="90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EDIT SOURCE</a:t>
            </a:r>
          </a:p>
        </p:txBody>
      </p:sp>
      <p:sp>
        <p:nvSpPr>
          <p:cNvPr id="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7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noProof="0" dirty="0" smtClean="0"/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9" name="Content Placeholder 51"/>
          <p:cNvSpPr>
            <a:spLocks noGrp="1"/>
          </p:cNvSpPr>
          <p:nvPr>
            <p:ph sz="quarter" idx="45" hasCustomPrompt="1"/>
          </p:nvPr>
        </p:nvSpPr>
        <p:spPr>
          <a:xfrm>
            <a:off x="508000" y="4199574"/>
            <a:ext cx="5468938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40" name="Content Placeholder 51"/>
          <p:cNvSpPr>
            <a:spLocks noGrp="1"/>
          </p:cNvSpPr>
          <p:nvPr>
            <p:ph sz="quarter" idx="46" hasCustomPrompt="1"/>
          </p:nvPr>
        </p:nvSpPr>
        <p:spPr>
          <a:xfrm>
            <a:off x="508000" y="3864611"/>
            <a:ext cx="5468938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41" name="Straight Connector 40"/>
          <p:cNvCxnSpPr/>
          <p:nvPr userDrawn="1"/>
        </p:nvCxnSpPr>
        <p:spPr>
          <a:xfrm>
            <a:off x="508000" y="4141370"/>
            <a:ext cx="5468938" cy="941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Chart Placeholder 16"/>
          <p:cNvSpPr>
            <a:spLocks noGrp="1"/>
          </p:cNvSpPr>
          <p:nvPr>
            <p:ph type="chart" sz="quarter" idx="47"/>
          </p:nvPr>
        </p:nvSpPr>
        <p:spPr>
          <a:xfrm>
            <a:off x="508000" y="4456229"/>
            <a:ext cx="5468938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chart</a:t>
            </a:r>
            <a:endParaRPr lang="nl-NL" dirty="0"/>
          </a:p>
        </p:txBody>
      </p:sp>
      <p:cxnSp>
        <p:nvCxnSpPr>
          <p:cNvPr id="43" name="Straight Connector 42"/>
          <p:cNvCxnSpPr/>
          <p:nvPr userDrawn="1"/>
        </p:nvCxnSpPr>
        <p:spPr>
          <a:xfrm flipV="1">
            <a:off x="508000" y="5966640"/>
            <a:ext cx="5468938" cy="188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Content Placeholder 51"/>
          <p:cNvSpPr>
            <a:spLocks noGrp="1"/>
          </p:cNvSpPr>
          <p:nvPr>
            <p:ph sz="quarter" idx="54" hasCustomPrompt="1"/>
          </p:nvPr>
        </p:nvSpPr>
        <p:spPr>
          <a:xfrm>
            <a:off x="508000" y="1863726"/>
            <a:ext cx="5468938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100" name="Content Placeholder 51"/>
          <p:cNvSpPr>
            <a:spLocks noGrp="1"/>
          </p:cNvSpPr>
          <p:nvPr>
            <p:ph sz="quarter" idx="55" hasCustomPrompt="1"/>
          </p:nvPr>
        </p:nvSpPr>
        <p:spPr>
          <a:xfrm>
            <a:off x="508000" y="1528763"/>
            <a:ext cx="5468938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101" name="Straight Connector 100"/>
          <p:cNvCxnSpPr/>
          <p:nvPr userDrawn="1"/>
        </p:nvCxnSpPr>
        <p:spPr>
          <a:xfrm>
            <a:off x="508000" y="1805522"/>
            <a:ext cx="5468938" cy="941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Chart Placeholder 16"/>
          <p:cNvSpPr>
            <a:spLocks noGrp="1"/>
          </p:cNvSpPr>
          <p:nvPr>
            <p:ph type="chart" sz="quarter" idx="56"/>
          </p:nvPr>
        </p:nvSpPr>
        <p:spPr>
          <a:xfrm>
            <a:off x="508000" y="2120382"/>
            <a:ext cx="5468938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chart</a:t>
            </a:r>
            <a:endParaRPr lang="nl-NL" dirty="0"/>
          </a:p>
        </p:txBody>
      </p:sp>
      <p:cxnSp>
        <p:nvCxnSpPr>
          <p:cNvPr id="103" name="Straight Connector 102"/>
          <p:cNvCxnSpPr/>
          <p:nvPr userDrawn="1"/>
        </p:nvCxnSpPr>
        <p:spPr>
          <a:xfrm flipV="1">
            <a:off x="508000" y="3732357"/>
            <a:ext cx="5468938" cy="188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Content Placeholder 51"/>
          <p:cNvSpPr>
            <a:spLocks noGrp="1"/>
          </p:cNvSpPr>
          <p:nvPr>
            <p:ph sz="quarter" idx="57" hasCustomPrompt="1"/>
          </p:nvPr>
        </p:nvSpPr>
        <p:spPr>
          <a:xfrm>
            <a:off x="6215063" y="4199574"/>
            <a:ext cx="5464175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105" name="Content Placeholder 51"/>
          <p:cNvSpPr>
            <a:spLocks noGrp="1"/>
          </p:cNvSpPr>
          <p:nvPr>
            <p:ph sz="quarter" idx="58" hasCustomPrompt="1"/>
          </p:nvPr>
        </p:nvSpPr>
        <p:spPr>
          <a:xfrm>
            <a:off x="6215063" y="3864611"/>
            <a:ext cx="5464175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106" name="Straight Connector 105"/>
          <p:cNvCxnSpPr/>
          <p:nvPr userDrawn="1"/>
        </p:nvCxnSpPr>
        <p:spPr>
          <a:xfrm>
            <a:off x="6215063" y="4141387"/>
            <a:ext cx="5464175" cy="914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Chart Placeholder 16"/>
          <p:cNvSpPr>
            <a:spLocks noGrp="1"/>
          </p:cNvSpPr>
          <p:nvPr>
            <p:ph type="chart" sz="quarter" idx="59"/>
          </p:nvPr>
        </p:nvSpPr>
        <p:spPr>
          <a:xfrm>
            <a:off x="6215063" y="4456229"/>
            <a:ext cx="5464175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chart</a:t>
            </a:r>
            <a:endParaRPr lang="nl-NL" dirty="0"/>
          </a:p>
        </p:txBody>
      </p:sp>
      <p:cxnSp>
        <p:nvCxnSpPr>
          <p:cNvPr id="108" name="Straight Connector 107"/>
          <p:cNvCxnSpPr/>
          <p:nvPr userDrawn="1"/>
        </p:nvCxnSpPr>
        <p:spPr>
          <a:xfrm flipV="1">
            <a:off x="6215063" y="5966657"/>
            <a:ext cx="5464175" cy="1829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Content Placeholder 51"/>
          <p:cNvSpPr>
            <a:spLocks noGrp="1"/>
          </p:cNvSpPr>
          <p:nvPr>
            <p:ph sz="quarter" idx="60" hasCustomPrompt="1"/>
          </p:nvPr>
        </p:nvSpPr>
        <p:spPr>
          <a:xfrm>
            <a:off x="6215063" y="1863726"/>
            <a:ext cx="5464175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110" name="Content Placeholder 51"/>
          <p:cNvSpPr>
            <a:spLocks noGrp="1"/>
          </p:cNvSpPr>
          <p:nvPr>
            <p:ph sz="quarter" idx="61" hasCustomPrompt="1"/>
          </p:nvPr>
        </p:nvSpPr>
        <p:spPr>
          <a:xfrm>
            <a:off x="6215063" y="1528763"/>
            <a:ext cx="5464175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111" name="Straight Connector 110"/>
          <p:cNvCxnSpPr/>
          <p:nvPr userDrawn="1"/>
        </p:nvCxnSpPr>
        <p:spPr>
          <a:xfrm>
            <a:off x="6215063" y="1805539"/>
            <a:ext cx="5464175" cy="914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Chart Placeholder 16"/>
          <p:cNvSpPr>
            <a:spLocks noGrp="1"/>
          </p:cNvSpPr>
          <p:nvPr>
            <p:ph type="chart" sz="quarter" idx="62"/>
          </p:nvPr>
        </p:nvSpPr>
        <p:spPr>
          <a:xfrm>
            <a:off x="6215063" y="2120382"/>
            <a:ext cx="5464175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chart</a:t>
            </a:r>
            <a:endParaRPr lang="nl-NL" dirty="0"/>
          </a:p>
        </p:txBody>
      </p:sp>
      <p:cxnSp>
        <p:nvCxnSpPr>
          <p:cNvPr id="113" name="Straight Connector 112"/>
          <p:cNvCxnSpPr/>
          <p:nvPr userDrawn="1"/>
        </p:nvCxnSpPr>
        <p:spPr>
          <a:xfrm>
            <a:off x="6089108" y="3730543"/>
            <a:ext cx="5265195" cy="2448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7th November, 2018</a:t>
            </a:r>
            <a:endParaRPr lang="en-GB" dirty="0"/>
          </a:p>
        </p:txBody>
      </p:sp>
      <p:sp>
        <p:nvSpPr>
          <p:cNvPr id="3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 </a:t>
            </a:r>
            <a:endParaRPr lang="en-GB" dirty="0"/>
          </a:p>
        </p:txBody>
      </p:sp>
      <p:sp>
        <p:nvSpPr>
          <p:cNvPr id="3" name="TextBox 2" descr="CONFIDENTIAL_TAG_0xFFEE"/>
          <p:cNvSpPr txBox="1"/>
          <p:nvPr userDrawn="1"/>
        </p:nvSpPr>
        <p:spPr bwMode="auto">
          <a:xfrm>
            <a:off x="6105231" y="4859147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8538845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 userDrawn="1"/>
        </p:nvSpPr>
        <p:spPr bwMode="gray">
          <a:xfrm>
            <a:off x="1" y="4313784"/>
            <a:ext cx="12192000" cy="25442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7" name="Rectangle 26" descr="&lt;Shell Yellow Bar&gt;" title="&lt;Shell Yellow Bar&gt;"/>
          <p:cNvSpPr/>
          <p:nvPr userDrawn="1"/>
        </p:nvSpPr>
        <p:spPr bwMode="gray">
          <a:xfrm>
            <a:off x="761993" y="1524000"/>
            <a:ext cx="1269984" cy="75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763200" y="2636980"/>
            <a:ext cx="6397451" cy="136207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4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5" name="Text Placeholder 2"/>
          <p:cNvSpPr>
            <a:spLocks noGrp="1"/>
          </p:cNvSpPr>
          <p:nvPr>
            <p:ph type="body" idx="1"/>
          </p:nvPr>
        </p:nvSpPr>
        <p:spPr>
          <a:xfrm>
            <a:off x="763200" y="1696947"/>
            <a:ext cx="6397451" cy="82123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800" b="0" cap="none" baseline="0">
                <a:solidFill>
                  <a:schemeClr val="tx1"/>
                </a:solidFill>
                <a:latin typeface="+mj-lt"/>
              </a:defRPr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7402833" y="1924112"/>
            <a:ext cx="4274842" cy="2930523"/>
          </a:xfrm>
          <a:prstGeom prst="rect">
            <a:avLst/>
          </a:prstGeom>
        </p:spPr>
        <p:txBody>
          <a:bodyPr lIns="0" tIns="0" rIns="0" bIns="0"/>
          <a:lstStyle>
            <a:lvl1pPr marL="0" algn="r" defTabSz="1219170" rtl="0" eaLnBrk="1" latinLnBrk="0" hangingPunct="1">
              <a:lnSpc>
                <a:spcPct val="100000"/>
              </a:lnSpc>
              <a:buClr>
                <a:srgbClr val="DD1D21"/>
              </a:buClr>
              <a:buSzPct val="85000"/>
              <a:buNone/>
              <a:tabLst>
                <a:tab pos="1081088" algn="l"/>
              </a:tabLst>
              <a:defRPr lang="en-GB" sz="20000" kern="10000" spc="-1000" baseline="0" dirty="0">
                <a:ln w="3175">
                  <a:noFill/>
                </a:ln>
                <a:solidFill>
                  <a:schemeClr val="accent1"/>
                </a:solidFill>
                <a:latin typeface="Futura Bold"/>
                <a:ea typeface="Arial" charset="0"/>
                <a:cs typeface="Futura Bold"/>
              </a:defRPr>
            </a:lvl1pPr>
          </a:lstStyle>
          <a:p>
            <a:pPr lvl="0"/>
            <a:r>
              <a:rPr lang="en-GB" dirty="0"/>
              <a:t>0.0</a:t>
            </a:r>
          </a:p>
        </p:txBody>
      </p:sp>
      <p:sp>
        <p:nvSpPr>
          <p:cNvPr id="14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7th November, 2018</a:t>
            </a:r>
            <a:endParaRPr lang="en-GB" dirty="0"/>
          </a:p>
        </p:txBody>
      </p:sp>
      <p:sp>
        <p:nvSpPr>
          <p:cNvPr id="15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2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 </a:t>
            </a:r>
            <a:endParaRPr lang="en-GB" dirty="0"/>
          </a:p>
        </p:txBody>
      </p:sp>
      <p:sp>
        <p:nvSpPr>
          <p:cNvPr id="13" name="TextBox 12" descr="CONFIDENTIAL_TAG_0xFFEE"/>
          <p:cNvSpPr txBox="1"/>
          <p:nvPr userDrawn="1"/>
        </p:nvSpPr>
        <p:spPr bwMode="auto">
          <a:xfrm>
            <a:off x="8466411" y="6469199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972345431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 bwMode="gray">
          <a:xfrm>
            <a:off x="761993" y="3556002"/>
            <a:ext cx="6858000" cy="2540001"/>
            <a:chOff x="761993" y="3556002"/>
            <a:chExt cx="6858000" cy="2540001"/>
          </a:xfrm>
        </p:grpSpPr>
        <p:sp>
          <p:nvSpPr>
            <p:cNvPr id="16" name="Rectangle 15"/>
            <p:cNvSpPr/>
            <p:nvPr userDrawn="1"/>
          </p:nvSpPr>
          <p:spPr bwMode="gray">
            <a:xfrm>
              <a:off x="761993" y="3556002"/>
              <a:ext cx="6858000" cy="2540001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8" name="Rectangle 27" descr="&lt;Shell Yellow Bar&gt;" title="&lt;Shell Yellow Bar&gt;"/>
            <p:cNvSpPr/>
            <p:nvPr userDrawn="1"/>
          </p:nvSpPr>
          <p:spPr bwMode="gray">
            <a:xfrm>
              <a:off x="1145875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</p:grpSp>
      <p:sp>
        <p:nvSpPr>
          <p:cNvPr id="32" name="Rectangle 31"/>
          <p:cNvSpPr/>
          <p:nvPr userDrawn="1"/>
        </p:nvSpPr>
        <p:spPr bwMode="white">
          <a:xfrm>
            <a:off x="501606" y="488935"/>
            <a:ext cx="1311092" cy="11880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 </a:t>
            </a:r>
            <a:endParaRPr lang="en-GB" dirty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2" y="1"/>
            <a:ext cx="12194723" cy="4866892"/>
          </a:xfrm>
          <a:custGeom>
            <a:avLst/>
            <a:gdLst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0 w 12192000"/>
              <a:gd name="connsiteY3" fmla="*/ 4854636 h 4854636"/>
              <a:gd name="connsiteX4" fmla="*/ 0 w 12192000"/>
              <a:gd name="connsiteY4" fmla="*/ 0 h 4854636"/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592282 w 12192000"/>
              <a:gd name="connsiteY3" fmla="*/ 4842164 h 4854636"/>
              <a:gd name="connsiteX4" fmla="*/ 0 w 12192000"/>
              <a:gd name="connsiteY4" fmla="*/ 4854636 h 4854636"/>
              <a:gd name="connsiteX5" fmla="*/ 0 w 12192000"/>
              <a:gd name="connsiteY5" fmla="*/ 0 h 485463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592282 w 12192000"/>
              <a:gd name="connsiteY3" fmla="*/ 4842164 h 4888026"/>
              <a:gd name="connsiteX4" fmla="*/ 0 w 12192000"/>
              <a:gd name="connsiteY4" fmla="*/ 4854636 h 4888026"/>
              <a:gd name="connsiteX5" fmla="*/ 0 w 12192000"/>
              <a:gd name="connsiteY5" fmla="*/ 0 h 488802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841664 w 12192000"/>
              <a:gd name="connsiteY3" fmla="*/ 2909455 h 4888026"/>
              <a:gd name="connsiteX4" fmla="*/ 592282 w 12192000"/>
              <a:gd name="connsiteY4" fmla="*/ 4842164 h 4888026"/>
              <a:gd name="connsiteX5" fmla="*/ 0 w 12192000"/>
              <a:gd name="connsiteY5" fmla="*/ 4854636 h 4888026"/>
              <a:gd name="connsiteX6" fmla="*/ 0 w 12192000"/>
              <a:gd name="connsiteY6" fmla="*/ 0 h 4888026"/>
              <a:gd name="connsiteX0" fmla="*/ 0 w 12192000"/>
              <a:gd name="connsiteY0" fmla="*/ 0 h 4982265"/>
              <a:gd name="connsiteX1" fmla="*/ 12192000 w 12192000"/>
              <a:gd name="connsiteY1" fmla="*/ 0 h 4982265"/>
              <a:gd name="connsiteX2" fmla="*/ 12192000 w 12192000"/>
              <a:gd name="connsiteY2" fmla="*/ 4854636 h 4982265"/>
              <a:gd name="connsiteX3" fmla="*/ 7606145 w 12192000"/>
              <a:gd name="connsiteY3" fmla="*/ 3543300 h 4982265"/>
              <a:gd name="connsiteX4" fmla="*/ 841664 w 12192000"/>
              <a:gd name="connsiteY4" fmla="*/ 2909455 h 4982265"/>
              <a:gd name="connsiteX5" fmla="*/ 592282 w 12192000"/>
              <a:gd name="connsiteY5" fmla="*/ 4842164 h 4982265"/>
              <a:gd name="connsiteX6" fmla="*/ 0 w 12192000"/>
              <a:gd name="connsiteY6" fmla="*/ 4854636 h 4982265"/>
              <a:gd name="connsiteX7" fmla="*/ 0 w 12192000"/>
              <a:gd name="connsiteY7" fmla="*/ 0 h 4982265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592282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61702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6071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48146 w 12192000"/>
              <a:gd name="connsiteY5" fmla="*/ 3564082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7795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872233 w 12194382"/>
              <a:gd name="connsiteY6" fmla="*/ 4872048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45920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82443"/>
              <a:gd name="connsiteX1" fmla="*/ 12194382 w 12194382"/>
              <a:gd name="connsiteY1" fmla="*/ 0 h 5182443"/>
              <a:gd name="connsiteX2" fmla="*/ 12194382 w 12194382"/>
              <a:gd name="connsiteY2" fmla="*/ 4854636 h 5182443"/>
              <a:gd name="connsiteX3" fmla="*/ 7623248 w 12194382"/>
              <a:gd name="connsiteY3" fmla="*/ 4843680 h 5182443"/>
              <a:gd name="connsiteX4" fmla="*/ 7620433 w 12194382"/>
              <a:gd name="connsiteY4" fmla="*/ 3543300 h 5182443"/>
              <a:gd name="connsiteX5" fmla="*/ 762115 w 12194382"/>
              <a:gd name="connsiteY5" fmla="*/ 3547023 h 5182443"/>
              <a:gd name="connsiteX6" fmla="*/ 762695 w 12194382"/>
              <a:gd name="connsiteY6" fmla="*/ 4850671 h 5182443"/>
              <a:gd name="connsiteX7" fmla="*/ 0 w 12194382"/>
              <a:gd name="connsiteY7" fmla="*/ 4847509 h 5182443"/>
              <a:gd name="connsiteX8" fmla="*/ 2382 w 12194382"/>
              <a:gd name="connsiteY8" fmla="*/ 0 h 5182443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723"/>
              <a:gd name="connsiteY0" fmla="*/ 0 h 4854829"/>
              <a:gd name="connsiteX1" fmla="*/ 12194382 w 12194723"/>
              <a:gd name="connsiteY1" fmla="*/ 0 h 4854829"/>
              <a:gd name="connsiteX2" fmla="*/ 12194382 w 12194723"/>
              <a:gd name="connsiteY2" fmla="*/ 4854636 h 4854829"/>
              <a:gd name="connsiteX3" fmla="*/ 7623248 w 12194723"/>
              <a:gd name="connsiteY3" fmla="*/ 4843680 h 4854829"/>
              <a:gd name="connsiteX4" fmla="*/ 7620433 w 12194723"/>
              <a:gd name="connsiteY4" fmla="*/ 3543300 h 4854829"/>
              <a:gd name="connsiteX5" fmla="*/ 762115 w 12194723"/>
              <a:gd name="connsiteY5" fmla="*/ 3547023 h 4854829"/>
              <a:gd name="connsiteX6" fmla="*/ 762695 w 12194723"/>
              <a:gd name="connsiteY6" fmla="*/ 4850671 h 4854829"/>
              <a:gd name="connsiteX7" fmla="*/ 0 w 12194723"/>
              <a:gd name="connsiteY7" fmla="*/ 4847509 h 4854829"/>
              <a:gd name="connsiteX8" fmla="*/ 2382 w 12194723"/>
              <a:gd name="connsiteY8" fmla="*/ 0 h 4854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4723" h="4854829">
                <a:moveTo>
                  <a:pt x="2382" y="0"/>
                </a:moveTo>
                <a:lnTo>
                  <a:pt x="12194382" y="0"/>
                </a:lnTo>
                <a:cubicBezTo>
                  <a:pt x="12194382" y="1618212"/>
                  <a:pt x="12195150" y="4852730"/>
                  <a:pt x="12194382" y="4854636"/>
                </a:cubicBezTo>
                <a:cubicBezTo>
                  <a:pt x="12193614" y="4856542"/>
                  <a:pt x="7623176" y="4843704"/>
                  <a:pt x="7623248" y="4843680"/>
                </a:cubicBezTo>
                <a:cubicBezTo>
                  <a:pt x="7623320" y="4843656"/>
                  <a:pt x="7618248" y="3540554"/>
                  <a:pt x="7620433" y="3543300"/>
                </a:cubicBezTo>
                <a:cubicBezTo>
                  <a:pt x="7622618" y="3546046"/>
                  <a:pt x="3048221" y="3545782"/>
                  <a:pt x="762115" y="3547023"/>
                </a:cubicBezTo>
                <a:cubicBezTo>
                  <a:pt x="760398" y="3777370"/>
                  <a:pt x="763508" y="4852455"/>
                  <a:pt x="762695" y="4850671"/>
                </a:cubicBezTo>
                <a:cubicBezTo>
                  <a:pt x="761882" y="4848887"/>
                  <a:pt x="254232" y="4848563"/>
                  <a:pt x="0" y="4847509"/>
                </a:cubicBezTo>
                <a:lnTo>
                  <a:pt x="2382" y="0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7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145875" y="4028766"/>
            <a:ext cx="6177756" cy="865472"/>
          </a:xfrm>
          <a:noFill/>
        </p:spPr>
        <p:txBody>
          <a:bodyPr lIns="0" tIns="0" rIns="0"/>
          <a:lstStyle>
            <a:lvl1pPr>
              <a:defRPr sz="240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145875" y="5092242"/>
            <a:ext cx="6177756" cy="7706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lang="en-GB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7th November, 2018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54432316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lang="en-US" sz="2400" b="0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219170" rtl="0" eaLnBrk="1" latinLnBrk="0" hangingPunct="1">
              <a:lnSpc>
                <a:spcPct val="95000"/>
              </a:lnSpc>
              <a:spcBef>
                <a:spcPct val="0"/>
              </a:spcBef>
              <a:buNone/>
            </a:pPr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 </a:t>
            </a:r>
            <a:endParaRPr lang="en-GB" dirty="0"/>
          </a:p>
        </p:txBody>
      </p:sp>
      <p:sp>
        <p:nvSpPr>
          <p:cNvPr id="7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7th November, 2018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34389675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-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1" y="0"/>
            <a:ext cx="12194382" cy="6858000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7th November, 2018</a:t>
            </a:r>
            <a:endParaRPr lang="en-GB" dirty="0"/>
          </a:p>
        </p:txBody>
      </p:sp>
      <p:sp>
        <p:nvSpPr>
          <p:cNvPr id="14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 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513180" y="1438480"/>
            <a:ext cx="5463758" cy="2861742"/>
          </a:xfrm>
        </p:spPr>
        <p:txBody>
          <a:bodyPr/>
          <a:lstStyle>
            <a:lvl1pPr>
              <a:lnSpc>
                <a:spcPct val="110000"/>
              </a:lnSpc>
              <a:defRPr lang="en-US" sz="3400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54368803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&amp;A n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 userDrawn="1"/>
        </p:nvSpPr>
        <p:spPr bwMode="gray">
          <a:xfrm>
            <a:off x="1" y="4313784"/>
            <a:ext cx="12192000" cy="25442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3" name="Rectangle 22" descr="&lt;Shell Yellow Bar&gt;" title="&lt;Shell Yellow Bar&gt;"/>
          <p:cNvSpPr/>
          <p:nvPr userDrawn="1"/>
        </p:nvSpPr>
        <p:spPr bwMode="gray">
          <a:xfrm>
            <a:off x="761993" y="1524000"/>
            <a:ext cx="1269984" cy="75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4" name="Title 1"/>
          <p:cNvSpPr>
            <a:spLocks noGrp="1"/>
          </p:cNvSpPr>
          <p:nvPr>
            <p:ph type="title"/>
          </p:nvPr>
        </p:nvSpPr>
        <p:spPr>
          <a:xfrm>
            <a:off x="763200" y="2636980"/>
            <a:ext cx="5187472" cy="136207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4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5" name="Text Placeholder 2"/>
          <p:cNvSpPr>
            <a:spLocks noGrp="1"/>
          </p:cNvSpPr>
          <p:nvPr>
            <p:ph type="body" idx="1"/>
          </p:nvPr>
        </p:nvSpPr>
        <p:spPr>
          <a:xfrm>
            <a:off x="763200" y="1696947"/>
            <a:ext cx="6375761" cy="82123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800" b="0" cap="none" baseline="0">
                <a:solidFill>
                  <a:schemeClr val="tx1"/>
                </a:solidFill>
                <a:latin typeface="+mj-lt"/>
              </a:defRPr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7th November, 2018</a:t>
            </a:r>
            <a:endParaRPr lang="en-GB" dirty="0"/>
          </a:p>
        </p:txBody>
      </p:sp>
      <p:sp>
        <p:nvSpPr>
          <p:cNvPr id="27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2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 </a:t>
            </a:r>
            <a:endParaRPr lang="en-GB" dirty="0"/>
          </a:p>
        </p:txBody>
      </p:sp>
      <p:grpSp>
        <p:nvGrpSpPr>
          <p:cNvPr id="31" name="Group 30"/>
          <p:cNvGrpSpPr/>
          <p:nvPr userDrawn="1"/>
        </p:nvGrpSpPr>
        <p:grpSpPr bwMode="gray">
          <a:xfrm>
            <a:off x="6450013" y="2557463"/>
            <a:ext cx="5197475" cy="1917700"/>
            <a:chOff x="6450013" y="2557463"/>
            <a:chExt cx="5197475" cy="1917700"/>
          </a:xfrm>
        </p:grpSpPr>
        <p:sp>
          <p:nvSpPr>
            <p:cNvPr id="32" name="Freeform 6"/>
            <p:cNvSpPr>
              <a:spLocks noEditPoints="1"/>
            </p:cNvSpPr>
            <p:nvPr userDrawn="1"/>
          </p:nvSpPr>
          <p:spPr bwMode="gray">
            <a:xfrm>
              <a:off x="6450013" y="2557463"/>
              <a:ext cx="2005013" cy="1917700"/>
            </a:xfrm>
            <a:custGeom>
              <a:avLst/>
              <a:gdLst>
                <a:gd name="T0" fmla="*/ 274 w 346"/>
                <a:gd name="T1" fmla="*/ 331 h 331"/>
                <a:gd name="T2" fmla="*/ 250 w 346"/>
                <a:gd name="T3" fmla="*/ 302 h 331"/>
                <a:gd name="T4" fmla="*/ 167 w 346"/>
                <a:gd name="T5" fmla="*/ 322 h 331"/>
                <a:gd name="T6" fmla="*/ 0 w 346"/>
                <a:gd name="T7" fmla="*/ 156 h 331"/>
                <a:gd name="T8" fmla="*/ 167 w 346"/>
                <a:gd name="T9" fmla="*/ 0 h 331"/>
                <a:gd name="T10" fmla="*/ 334 w 346"/>
                <a:gd name="T11" fmla="*/ 162 h 331"/>
                <a:gd name="T12" fmla="*/ 295 w 346"/>
                <a:gd name="T13" fmla="*/ 268 h 331"/>
                <a:gd name="T14" fmla="*/ 346 w 346"/>
                <a:gd name="T15" fmla="*/ 320 h 331"/>
                <a:gd name="T16" fmla="*/ 274 w 346"/>
                <a:gd name="T17" fmla="*/ 331 h 331"/>
                <a:gd name="T18" fmla="*/ 238 w 346"/>
                <a:gd name="T19" fmla="*/ 207 h 331"/>
                <a:gd name="T20" fmla="*/ 252 w 346"/>
                <a:gd name="T21" fmla="*/ 162 h 331"/>
                <a:gd name="T22" fmla="*/ 167 w 346"/>
                <a:gd name="T23" fmla="*/ 76 h 331"/>
                <a:gd name="T24" fmla="*/ 82 w 346"/>
                <a:gd name="T25" fmla="*/ 156 h 331"/>
                <a:gd name="T26" fmla="*/ 167 w 346"/>
                <a:gd name="T27" fmla="*/ 246 h 331"/>
                <a:gd name="T28" fmla="*/ 191 w 346"/>
                <a:gd name="T29" fmla="*/ 242 h 331"/>
                <a:gd name="T30" fmla="*/ 143 w 346"/>
                <a:gd name="T31" fmla="*/ 194 h 331"/>
                <a:gd name="T32" fmla="*/ 217 w 346"/>
                <a:gd name="T33" fmla="*/ 185 h 331"/>
                <a:gd name="T34" fmla="*/ 238 w 346"/>
                <a:gd name="T35" fmla="*/ 207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46" h="331">
                  <a:moveTo>
                    <a:pt x="274" y="331"/>
                  </a:moveTo>
                  <a:cubicBezTo>
                    <a:pt x="250" y="302"/>
                    <a:pt x="250" y="302"/>
                    <a:pt x="250" y="302"/>
                  </a:cubicBezTo>
                  <a:cubicBezTo>
                    <a:pt x="227" y="316"/>
                    <a:pt x="199" y="322"/>
                    <a:pt x="167" y="322"/>
                  </a:cubicBezTo>
                  <a:cubicBezTo>
                    <a:pt x="70" y="322"/>
                    <a:pt x="0" y="253"/>
                    <a:pt x="0" y="156"/>
                  </a:cubicBezTo>
                  <a:cubicBezTo>
                    <a:pt x="0" y="64"/>
                    <a:pt x="80" y="0"/>
                    <a:pt x="167" y="0"/>
                  </a:cubicBezTo>
                  <a:cubicBezTo>
                    <a:pt x="261" y="0"/>
                    <a:pt x="334" y="64"/>
                    <a:pt x="334" y="162"/>
                  </a:cubicBezTo>
                  <a:cubicBezTo>
                    <a:pt x="334" y="202"/>
                    <a:pt x="320" y="237"/>
                    <a:pt x="295" y="268"/>
                  </a:cubicBezTo>
                  <a:cubicBezTo>
                    <a:pt x="346" y="320"/>
                    <a:pt x="346" y="320"/>
                    <a:pt x="346" y="320"/>
                  </a:cubicBezTo>
                  <a:lnTo>
                    <a:pt x="274" y="331"/>
                  </a:lnTo>
                  <a:close/>
                  <a:moveTo>
                    <a:pt x="238" y="207"/>
                  </a:moveTo>
                  <a:cubicBezTo>
                    <a:pt x="247" y="194"/>
                    <a:pt x="252" y="178"/>
                    <a:pt x="252" y="162"/>
                  </a:cubicBezTo>
                  <a:cubicBezTo>
                    <a:pt x="252" y="117"/>
                    <a:pt x="215" y="76"/>
                    <a:pt x="167" y="76"/>
                  </a:cubicBezTo>
                  <a:cubicBezTo>
                    <a:pt x="121" y="76"/>
                    <a:pt x="82" y="114"/>
                    <a:pt x="82" y="156"/>
                  </a:cubicBezTo>
                  <a:cubicBezTo>
                    <a:pt x="82" y="208"/>
                    <a:pt x="121" y="246"/>
                    <a:pt x="167" y="246"/>
                  </a:cubicBezTo>
                  <a:cubicBezTo>
                    <a:pt x="175" y="246"/>
                    <a:pt x="183" y="245"/>
                    <a:pt x="191" y="242"/>
                  </a:cubicBezTo>
                  <a:cubicBezTo>
                    <a:pt x="143" y="194"/>
                    <a:pt x="143" y="194"/>
                    <a:pt x="143" y="194"/>
                  </a:cubicBezTo>
                  <a:cubicBezTo>
                    <a:pt x="217" y="185"/>
                    <a:pt x="217" y="185"/>
                    <a:pt x="217" y="185"/>
                  </a:cubicBezTo>
                  <a:lnTo>
                    <a:pt x="238" y="20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3" name="Freeform 7"/>
            <p:cNvSpPr>
              <a:spLocks noEditPoints="1"/>
            </p:cNvSpPr>
            <p:nvPr userDrawn="1"/>
          </p:nvSpPr>
          <p:spPr bwMode="gray">
            <a:xfrm>
              <a:off x="8426451" y="2586038"/>
              <a:ext cx="1441450" cy="1814513"/>
            </a:xfrm>
            <a:custGeom>
              <a:avLst/>
              <a:gdLst>
                <a:gd name="T0" fmla="*/ 190 w 249"/>
                <a:gd name="T1" fmla="*/ 257 h 313"/>
                <a:gd name="T2" fmla="*/ 79 w 249"/>
                <a:gd name="T3" fmla="*/ 313 h 313"/>
                <a:gd name="T4" fmla="*/ 0 w 249"/>
                <a:gd name="T5" fmla="*/ 233 h 313"/>
                <a:gd name="T6" fmla="*/ 92 w 249"/>
                <a:gd name="T7" fmla="*/ 124 h 313"/>
                <a:gd name="T8" fmla="*/ 60 w 249"/>
                <a:gd name="T9" fmla="*/ 58 h 313"/>
                <a:gd name="T10" fmla="*/ 119 w 249"/>
                <a:gd name="T11" fmla="*/ 0 h 313"/>
                <a:gd name="T12" fmla="*/ 174 w 249"/>
                <a:gd name="T13" fmla="*/ 56 h 313"/>
                <a:gd name="T14" fmla="*/ 117 w 249"/>
                <a:gd name="T15" fmla="*/ 130 h 313"/>
                <a:gd name="T16" fmla="*/ 192 w 249"/>
                <a:gd name="T17" fmla="*/ 232 h 313"/>
                <a:gd name="T18" fmla="*/ 230 w 249"/>
                <a:gd name="T19" fmla="*/ 190 h 313"/>
                <a:gd name="T20" fmla="*/ 245 w 249"/>
                <a:gd name="T21" fmla="*/ 198 h 313"/>
                <a:gd name="T22" fmla="*/ 203 w 249"/>
                <a:gd name="T23" fmla="*/ 246 h 313"/>
                <a:gd name="T24" fmla="*/ 249 w 249"/>
                <a:gd name="T25" fmla="*/ 307 h 313"/>
                <a:gd name="T26" fmla="*/ 228 w 249"/>
                <a:gd name="T27" fmla="*/ 307 h 313"/>
                <a:gd name="T28" fmla="*/ 190 w 249"/>
                <a:gd name="T29" fmla="*/ 257 h 313"/>
                <a:gd name="T30" fmla="*/ 84 w 249"/>
                <a:gd name="T31" fmla="*/ 152 h 313"/>
                <a:gd name="T32" fmla="*/ 19 w 249"/>
                <a:gd name="T33" fmla="*/ 231 h 313"/>
                <a:gd name="T34" fmla="*/ 79 w 249"/>
                <a:gd name="T35" fmla="*/ 295 h 313"/>
                <a:gd name="T36" fmla="*/ 179 w 249"/>
                <a:gd name="T37" fmla="*/ 242 h 313"/>
                <a:gd name="T38" fmla="*/ 103 w 249"/>
                <a:gd name="T39" fmla="*/ 139 h 313"/>
                <a:gd name="T40" fmla="*/ 84 w 249"/>
                <a:gd name="T41" fmla="*/ 152 h 313"/>
                <a:gd name="T42" fmla="*/ 79 w 249"/>
                <a:gd name="T43" fmla="*/ 60 h 313"/>
                <a:gd name="T44" fmla="*/ 106 w 249"/>
                <a:gd name="T45" fmla="*/ 115 h 313"/>
                <a:gd name="T46" fmla="*/ 154 w 249"/>
                <a:gd name="T47" fmla="*/ 55 h 313"/>
                <a:gd name="T48" fmla="*/ 118 w 249"/>
                <a:gd name="T49" fmla="*/ 18 h 313"/>
                <a:gd name="T50" fmla="*/ 79 w 249"/>
                <a:gd name="T51" fmla="*/ 60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49" h="313">
                  <a:moveTo>
                    <a:pt x="190" y="257"/>
                  </a:moveTo>
                  <a:cubicBezTo>
                    <a:pt x="156" y="285"/>
                    <a:pt x="118" y="313"/>
                    <a:pt x="79" y="313"/>
                  </a:cubicBezTo>
                  <a:cubicBezTo>
                    <a:pt x="34" y="313"/>
                    <a:pt x="0" y="277"/>
                    <a:pt x="0" y="233"/>
                  </a:cubicBezTo>
                  <a:cubicBezTo>
                    <a:pt x="0" y="181"/>
                    <a:pt x="50" y="150"/>
                    <a:pt x="92" y="124"/>
                  </a:cubicBezTo>
                  <a:cubicBezTo>
                    <a:pt x="78" y="104"/>
                    <a:pt x="60" y="84"/>
                    <a:pt x="60" y="58"/>
                  </a:cubicBezTo>
                  <a:cubicBezTo>
                    <a:pt x="60" y="26"/>
                    <a:pt x="87" y="0"/>
                    <a:pt x="119" y="0"/>
                  </a:cubicBezTo>
                  <a:cubicBezTo>
                    <a:pt x="150" y="0"/>
                    <a:pt x="174" y="25"/>
                    <a:pt x="174" y="56"/>
                  </a:cubicBezTo>
                  <a:cubicBezTo>
                    <a:pt x="174" y="90"/>
                    <a:pt x="146" y="110"/>
                    <a:pt x="117" y="130"/>
                  </a:cubicBezTo>
                  <a:cubicBezTo>
                    <a:pt x="192" y="232"/>
                    <a:pt x="192" y="232"/>
                    <a:pt x="192" y="232"/>
                  </a:cubicBezTo>
                  <a:cubicBezTo>
                    <a:pt x="230" y="190"/>
                    <a:pt x="230" y="190"/>
                    <a:pt x="230" y="190"/>
                  </a:cubicBezTo>
                  <a:cubicBezTo>
                    <a:pt x="245" y="198"/>
                    <a:pt x="245" y="198"/>
                    <a:pt x="245" y="198"/>
                  </a:cubicBezTo>
                  <a:cubicBezTo>
                    <a:pt x="203" y="246"/>
                    <a:pt x="203" y="246"/>
                    <a:pt x="203" y="246"/>
                  </a:cubicBezTo>
                  <a:cubicBezTo>
                    <a:pt x="249" y="307"/>
                    <a:pt x="249" y="307"/>
                    <a:pt x="249" y="307"/>
                  </a:cubicBezTo>
                  <a:cubicBezTo>
                    <a:pt x="228" y="307"/>
                    <a:pt x="228" y="307"/>
                    <a:pt x="228" y="307"/>
                  </a:cubicBezTo>
                  <a:lnTo>
                    <a:pt x="190" y="257"/>
                  </a:lnTo>
                  <a:close/>
                  <a:moveTo>
                    <a:pt x="84" y="152"/>
                  </a:moveTo>
                  <a:cubicBezTo>
                    <a:pt x="55" y="170"/>
                    <a:pt x="19" y="193"/>
                    <a:pt x="19" y="231"/>
                  </a:cubicBezTo>
                  <a:cubicBezTo>
                    <a:pt x="19" y="265"/>
                    <a:pt x="44" y="295"/>
                    <a:pt x="79" y="295"/>
                  </a:cubicBezTo>
                  <a:cubicBezTo>
                    <a:pt x="114" y="295"/>
                    <a:pt x="151" y="265"/>
                    <a:pt x="179" y="242"/>
                  </a:cubicBezTo>
                  <a:cubicBezTo>
                    <a:pt x="103" y="139"/>
                    <a:pt x="103" y="139"/>
                    <a:pt x="103" y="139"/>
                  </a:cubicBezTo>
                  <a:lnTo>
                    <a:pt x="84" y="152"/>
                  </a:lnTo>
                  <a:close/>
                  <a:moveTo>
                    <a:pt x="79" y="60"/>
                  </a:moveTo>
                  <a:cubicBezTo>
                    <a:pt x="79" y="81"/>
                    <a:pt x="95" y="97"/>
                    <a:pt x="106" y="115"/>
                  </a:cubicBezTo>
                  <a:cubicBezTo>
                    <a:pt x="127" y="99"/>
                    <a:pt x="154" y="86"/>
                    <a:pt x="154" y="55"/>
                  </a:cubicBezTo>
                  <a:cubicBezTo>
                    <a:pt x="154" y="35"/>
                    <a:pt x="138" y="18"/>
                    <a:pt x="118" y="18"/>
                  </a:cubicBezTo>
                  <a:cubicBezTo>
                    <a:pt x="96" y="18"/>
                    <a:pt x="79" y="39"/>
                    <a:pt x="79" y="6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5" name="Freeform 8"/>
            <p:cNvSpPr>
              <a:spLocks noEditPoints="1"/>
            </p:cNvSpPr>
            <p:nvPr userDrawn="1"/>
          </p:nvSpPr>
          <p:spPr bwMode="gray">
            <a:xfrm>
              <a:off x="9821863" y="2614613"/>
              <a:ext cx="1825625" cy="1751013"/>
            </a:xfrm>
            <a:custGeom>
              <a:avLst/>
              <a:gdLst>
                <a:gd name="T0" fmla="*/ 380 w 1150"/>
                <a:gd name="T1" fmla="*/ 913 h 1103"/>
                <a:gd name="T2" fmla="*/ 303 w 1150"/>
                <a:gd name="T3" fmla="*/ 1103 h 1103"/>
                <a:gd name="T4" fmla="*/ 0 w 1150"/>
                <a:gd name="T5" fmla="*/ 1103 h 1103"/>
                <a:gd name="T6" fmla="*/ 424 w 1150"/>
                <a:gd name="T7" fmla="*/ 0 h 1103"/>
                <a:gd name="T8" fmla="*/ 734 w 1150"/>
                <a:gd name="T9" fmla="*/ 0 h 1103"/>
                <a:gd name="T10" fmla="*/ 1150 w 1150"/>
                <a:gd name="T11" fmla="*/ 1103 h 1103"/>
                <a:gd name="T12" fmla="*/ 843 w 1150"/>
                <a:gd name="T13" fmla="*/ 1103 h 1103"/>
                <a:gd name="T14" fmla="*/ 774 w 1150"/>
                <a:gd name="T15" fmla="*/ 913 h 1103"/>
                <a:gd name="T16" fmla="*/ 380 w 1150"/>
                <a:gd name="T17" fmla="*/ 913 h 1103"/>
                <a:gd name="T18" fmla="*/ 581 w 1150"/>
                <a:gd name="T19" fmla="*/ 344 h 1103"/>
                <a:gd name="T20" fmla="*/ 577 w 1150"/>
                <a:gd name="T21" fmla="*/ 344 h 1103"/>
                <a:gd name="T22" fmla="*/ 456 w 1150"/>
                <a:gd name="T23" fmla="*/ 694 h 1103"/>
                <a:gd name="T24" fmla="*/ 697 w 1150"/>
                <a:gd name="T25" fmla="*/ 694 h 1103"/>
                <a:gd name="T26" fmla="*/ 581 w 1150"/>
                <a:gd name="T27" fmla="*/ 344 h 1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50" h="1103">
                  <a:moveTo>
                    <a:pt x="380" y="913"/>
                  </a:moveTo>
                  <a:lnTo>
                    <a:pt x="303" y="1103"/>
                  </a:lnTo>
                  <a:lnTo>
                    <a:pt x="0" y="1103"/>
                  </a:lnTo>
                  <a:lnTo>
                    <a:pt x="424" y="0"/>
                  </a:lnTo>
                  <a:lnTo>
                    <a:pt x="734" y="0"/>
                  </a:lnTo>
                  <a:lnTo>
                    <a:pt x="1150" y="1103"/>
                  </a:lnTo>
                  <a:lnTo>
                    <a:pt x="843" y="1103"/>
                  </a:lnTo>
                  <a:lnTo>
                    <a:pt x="774" y="913"/>
                  </a:lnTo>
                  <a:lnTo>
                    <a:pt x="380" y="913"/>
                  </a:lnTo>
                  <a:close/>
                  <a:moveTo>
                    <a:pt x="581" y="344"/>
                  </a:moveTo>
                  <a:lnTo>
                    <a:pt x="577" y="344"/>
                  </a:lnTo>
                  <a:lnTo>
                    <a:pt x="456" y="694"/>
                  </a:lnTo>
                  <a:lnTo>
                    <a:pt x="697" y="694"/>
                  </a:lnTo>
                  <a:lnTo>
                    <a:pt x="581" y="34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14" name="TextBox 13" descr="CONFIDENTIAL_TAG_0xFFEE"/>
          <p:cNvSpPr txBox="1"/>
          <p:nvPr userDrawn="1"/>
        </p:nvSpPr>
        <p:spPr bwMode="auto">
          <a:xfrm>
            <a:off x="8466411" y="6469199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812420806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 </a:t>
            </a:r>
            <a:endParaRPr lang="en-GB" dirty="0"/>
          </a:p>
        </p:txBody>
      </p:sp>
      <p:sp>
        <p:nvSpPr>
          <p:cNvPr id="1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7th November, 2018</a:t>
            </a:r>
            <a:endParaRPr lang="en-GB" dirty="0"/>
          </a:p>
        </p:txBody>
      </p:sp>
      <p:sp>
        <p:nvSpPr>
          <p:cNvPr id="1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9" name="TextBox 8" descr="CONFIDENTIAL_TAG_0xFFEE"/>
          <p:cNvSpPr txBox="1"/>
          <p:nvPr userDrawn="1"/>
        </p:nvSpPr>
        <p:spPr bwMode="auto">
          <a:xfrm>
            <a:off x="8466411" y="6469199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4255197729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(Mandator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0208" y="1280160"/>
            <a:ext cx="4300222" cy="43002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2728253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2 Lin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03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3pPr>
            <a:lvl4pPr marL="633600" indent="-2304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4pPr>
            <a:lvl5pPr marL="835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5pPr>
            <a:lvl6pPr marL="968400" indent="-1332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05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7th November, 2018</a:t>
            </a:r>
            <a:endParaRPr lang="en-GB" dirty="0"/>
          </a:p>
        </p:txBody>
      </p:sp>
      <p:sp>
        <p:nvSpPr>
          <p:cNvPr id="1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66971943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03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3pPr>
            <a:lvl4pPr marL="633600" indent="-2304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4pPr>
            <a:lvl5pPr marL="835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5pPr>
            <a:lvl6pPr marL="968400" indent="-1332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05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7th November, 2018</a:t>
            </a:r>
            <a:endParaRPr lang="en-GB" dirty="0"/>
          </a:p>
        </p:txBody>
      </p:sp>
      <p:sp>
        <p:nvSpPr>
          <p:cNvPr id="1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55258510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 userDrawn="1"/>
        </p:nvSpPr>
        <p:spPr bwMode="gray">
          <a:xfrm>
            <a:off x="0" y="4313786"/>
            <a:ext cx="12191999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779490" y="950400"/>
            <a:ext cx="9899747" cy="918000"/>
          </a:xfrm>
          <a:noFill/>
        </p:spPr>
        <p:txBody>
          <a:bodyPr lIns="0" tIns="0" rIns="0" anchor="ctr" anchorCtr="0"/>
          <a:lstStyle>
            <a:lvl1pPr>
              <a:lnSpc>
                <a:spcPct val="110000"/>
              </a:lnSpc>
              <a:defRPr sz="28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779490" y="3310197"/>
            <a:ext cx="4831323" cy="749808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8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22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1779490" y="4588235"/>
            <a:ext cx="4870924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23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1779490" y="4840063"/>
            <a:ext cx="4870924" cy="489785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30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3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6" name="Rectangle 35" descr="&lt;Shell Yellow Bar&gt;" title="&lt;Shell Yellow Bar&gt;"/>
          <p:cNvSpPr/>
          <p:nvPr userDrawn="1"/>
        </p:nvSpPr>
        <p:spPr bwMode="gray">
          <a:xfrm>
            <a:off x="1778011" y="761998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37" name="Picture 36" descr="PECTE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000" y="645968"/>
            <a:ext cx="1524000" cy="1524000"/>
          </a:xfrm>
          <a:prstGeom prst="rect">
            <a:avLst/>
          </a:prstGeom>
        </p:spPr>
      </p:pic>
      <p:sp>
        <p:nvSpPr>
          <p:cNvPr id="3" name="Picture Placeholder 2"/>
          <p:cNvSpPr>
            <a:spLocks noGrp="1"/>
          </p:cNvSpPr>
          <p:nvPr userDrawn="1">
            <p:ph type="pic" sz="quarter" idx="12"/>
          </p:nvPr>
        </p:nvSpPr>
        <p:spPr>
          <a:xfrm>
            <a:off x="6848418" y="2795384"/>
            <a:ext cx="4830819" cy="3049484"/>
          </a:xfrm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12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7th November, 2018</a:t>
            </a:r>
            <a:endParaRPr lang="en-GB" dirty="0"/>
          </a:p>
        </p:txBody>
      </p:sp>
      <p:sp>
        <p:nvSpPr>
          <p:cNvPr id="1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 </a:t>
            </a:r>
            <a:endParaRPr lang="en-GB" dirty="0"/>
          </a:p>
        </p:txBody>
      </p:sp>
      <p:sp>
        <p:nvSpPr>
          <p:cNvPr id="16" name="TextBox 15" descr="CONFIDENTIAL_TAG_0xFFEE"/>
          <p:cNvSpPr txBox="1"/>
          <p:nvPr userDrawn="1"/>
        </p:nvSpPr>
        <p:spPr bwMode="auto">
          <a:xfrm>
            <a:off x="8466411" y="6469199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620343065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- 2 Lin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b="1" dirty="0" smtClean="0"/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7th November, 2018</a:t>
            </a:r>
            <a:endParaRPr lang="en-GB" dirty="0"/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 </a:t>
            </a:r>
            <a:endParaRPr lang="en-GB" dirty="0"/>
          </a:p>
        </p:txBody>
      </p:sp>
      <p:sp>
        <p:nvSpPr>
          <p:cNvPr id="9" name="Content Placeholder 14"/>
          <p:cNvSpPr>
            <a:spLocks noGrp="1"/>
          </p:cNvSpPr>
          <p:nvPr>
            <p:ph sz="quarter" idx="13"/>
          </p:nvPr>
        </p:nvSpPr>
        <p:spPr>
          <a:xfrm>
            <a:off x="6215064" y="1528764"/>
            <a:ext cx="5464174" cy="4830761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/>
            </a:lvl1pPr>
            <a:lvl2pPr marL="230400" indent="-2304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/>
            </a:lvl2pPr>
            <a:lvl3pPr marL="403200" indent="-201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3pPr>
            <a:lvl4pPr marL="633600" indent="-230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4pPr>
            <a:lvl5pPr marL="835200" indent="-201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600"/>
            </a:lvl5pPr>
            <a:lvl6pPr marL="986400" indent="-151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2"/>
            <a:ext cx="5468938" cy="4830763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/>
            </a:lvl1pPr>
            <a:lvl2pPr marL="230400" indent="-2304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/>
            </a:lvl2pPr>
            <a:lvl3pPr marL="403200" indent="-201600"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3pPr>
            <a:lvl4pPr marL="633600" indent="-230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4pPr>
            <a:lvl5pPr marL="835200" indent="-201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600"/>
            </a:lvl5pPr>
            <a:lvl6pPr marL="986400" indent="-151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70936413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2 Lin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b="1" dirty="0" smtClean="0"/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7th November, 2018</a:t>
            </a:r>
            <a:endParaRPr lang="en-GB" dirty="0"/>
          </a:p>
        </p:txBody>
      </p:sp>
      <p:sp>
        <p:nvSpPr>
          <p:cNvPr id="14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98682698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Rectangle 102"/>
          <p:cNvSpPr/>
          <p:nvPr userDrawn="1"/>
        </p:nvSpPr>
        <p:spPr bwMode="gray">
          <a:xfrm>
            <a:off x="0" y="4313786"/>
            <a:ext cx="12192000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8" name="Rectangle 2"/>
          <p:cNvSpPr>
            <a:spLocks noGrp="1" noChangeArrowheads="1"/>
          </p:cNvSpPr>
          <p:nvPr userDrawn="1">
            <p:ph type="ctrTitle"/>
          </p:nvPr>
        </p:nvSpPr>
        <p:spPr>
          <a:xfrm>
            <a:off x="1779490" y="951614"/>
            <a:ext cx="9899747" cy="918000"/>
          </a:xfrm>
          <a:noFill/>
        </p:spPr>
        <p:txBody>
          <a:bodyPr lIns="0" tIns="0" rIns="0" anchor="ctr" anchorCtr="0"/>
          <a:lstStyle>
            <a:lvl1pPr>
              <a:lnSpc>
                <a:spcPct val="110000"/>
              </a:lnSpc>
              <a:defRPr sz="2800" b="0" kern="1200" cap="none" spc="0" baseline="0">
                <a:solidFill>
                  <a:schemeClr val="tx1"/>
                </a:solidFill>
                <a:latin typeface="ShellBold" panose="00000800000000000000" pitchFamily="50" charset="0"/>
                <a:cs typeface="Arial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29" name="Rectangle 3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1779490" y="3310197"/>
            <a:ext cx="9899747" cy="749808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8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32" name="Text Placeholder 3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779490" y="4588235"/>
            <a:ext cx="7810528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ShellBold" panose="00000800000000000000" pitchFamily="50" charset="0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33" name="Text Placeholder 31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779490" y="4840064"/>
            <a:ext cx="7810528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24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+mn-lt"/>
                <a:cs typeface="Arial" pitchFamily="34" charset="0"/>
              </a:rPr>
              <a:t>Copyright of SPDC JV</a:t>
            </a:r>
          </a:p>
        </p:txBody>
      </p:sp>
      <p:sp>
        <p:nvSpPr>
          <p:cNvPr id="25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19" name="Rectangle 18" descr="&lt;Shell Yellow Bar&gt;" title="&lt;Shell Yellow Bar&gt;"/>
          <p:cNvSpPr/>
          <p:nvPr userDrawn="1"/>
        </p:nvSpPr>
        <p:spPr bwMode="gray">
          <a:xfrm>
            <a:off x="1778011" y="761998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20" name="Picture 19" descr="PECTE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000" y="645968"/>
            <a:ext cx="1524000" cy="1524000"/>
          </a:xfrm>
          <a:prstGeom prst="rect">
            <a:avLst/>
          </a:prstGeom>
        </p:spPr>
      </p:pic>
      <p:sp>
        <p:nvSpPr>
          <p:cNvPr id="8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November 2022</a:t>
            </a:r>
          </a:p>
        </p:txBody>
      </p:sp>
      <p:sp>
        <p:nvSpPr>
          <p:cNvPr id="8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14" name="TextBox 13" descr="CONFIDENTIAL_TAG_0xFFEE">
            <a:extLst>
              <a:ext uri="{FF2B5EF4-FFF2-40B4-BE49-F238E27FC236}">
                <a16:creationId xmlns:a16="http://schemas.microsoft.com/office/drawing/2014/main" id="{25065FCD-FC0C-43A6-AAE4-EE96E81EE203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RESTRICTED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14033686"/>
      </p:ext>
    </p:extLst>
  </p:cSld>
  <p:clrMapOvr>
    <a:masterClrMapping/>
  </p:clrMapOvr>
  <p:transition/>
  <p:hf hdr="0"/>
  <p:extLst>
    <p:ext uri="{DCECCB84-F9BA-43D5-87BE-67443E8EF086}">
      <p15:sldGuideLst xmlns:p15="http://schemas.microsoft.com/office/powerpoint/2012/main">
        <p15:guide id="1" pos="198">
          <p15:clr>
            <a:srgbClr val="FBAE40"/>
          </p15:clr>
        </p15:guide>
        <p15:guide id="4" pos="7357">
          <p15:clr>
            <a:srgbClr val="FBAE40"/>
          </p15:clr>
        </p15:guide>
        <p15:guide id="5" pos="1121">
          <p15:clr>
            <a:srgbClr val="FBAE40"/>
          </p15:clr>
        </p15:guide>
        <p15:guide id="6" orient="horz" pos="4074">
          <p15:clr>
            <a:srgbClr val="FBAE40"/>
          </p15:clr>
        </p15:guide>
        <p15:guide id="7" orient="horz" pos="216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 userDrawn="1"/>
        </p:nvSpPr>
        <p:spPr bwMode="gray">
          <a:xfrm>
            <a:off x="0" y="4313786"/>
            <a:ext cx="12191999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779490" y="950400"/>
            <a:ext cx="9899747" cy="918000"/>
          </a:xfrm>
          <a:noFill/>
        </p:spPr>
        <p:txBody>
          <a:bodyPr lIns="0" tIns="0" rIns="0" anchor="ctr" anchorCtr="0"/>
          <a:lstStyle>
            <a:lvl1pPr>
              <a:lnSpc>
                <a:spcPct val="110000"/>
              </a:lnSpc>
              <a:defRPr sz="2800" b="0" kern="1200" cap="none" spc="0" baseline="0">
                <a:solidFill>
                  <a:schemeClr val="tx1"/>
                </a:solidFill>
                <a:latin typeface="ShellBold" panose="00000800000000000000" pitchFamily="50" charset="0"/>
                <a:cs typeface="Arial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2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779490" y="3310197"/>
            <a:ext cx="4831323" cy="749808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8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22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1779490" y="4588235"/>
            <a:ext cx="4870924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ShellBold" panose="00000800000000000000" pitchFamily="50" charset="0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23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1779490" y="4840063"/>
            <a:ext cx="4870924" cy="489785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30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 B.V.</a:t>
            </a:r>
          </a:p>
        </p:txBody>
      </p:sp>
      <p:sp>
        <p:nvSpPr>
          <p:cNvPr id="3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36" name="Rectangle 35" descr="&lt;Shell Yellow Bar&gt;" title="&lt;Shell Yellow Bar&gt;"/>
          <p:cNvSpPr/>
          <p:nvPr userDrawn="1"/>
        </p:nvSpPr>
        <p:spPr bwMode="gray">
          <a:xfrm>
            <a:off x="1778011" y="761998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37" name="Picture 36" descr="PECTE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000" y="645968"/>
            <a:ext cx="1524000" cy="1524000"/>
          </a:xfrm>
          <a:prstGeom prst="rect">
            <a:avLst/>
          </a:prstGeom>
        </p:spPr>
      </p:pic>
      <p:sp>
        <p:nvSpPr>
          <p:cNvPr id="3" name="Picture Placeholder 2"/>
          <p:cNvSpPr>
            <a:spLocks noGrp="1"/>
          </p:cNvSpPr>
          <p:nvPr userDrawn="1">
            <p:ph type="pic" sz="quarter" idx="12"/>
          </p:nvPr>
        </p:nvSpPr>
        <p:spPr>
          <a:xfrm>
            <a:off x="6848418" y="2795384"/>
            <a:ext cx="4830819" cy="3049484"/>
          </a:xfrm>
        </p:spPr>
        <p:txBody>
          <a:bodyPr/>
          <a:lstStyle>
            <a:lvl1pPr>
              <a:defRPr sz="2133"/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112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November 2022</a:t>
            </a:r>
          </a:p>
        </p:txBody>
      </p:sp>
      <p:sp>
        <p:nvSpPr>
          <p:cNvPr id="1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15" name="TextBox 14" descr="CONFIDENTIAL_TAG_0xFFEE">
            <a:extLst>
              <a:ext uri="{FF2B5EF4-FFF2-40B4-BE49-F238E27FC236}">
                <a16:creationId xmlns:a16="http://schemas.microsoft.com/office/drawing/2014/main" id="{8C06DF1C-E90B-4351-9976-DFEC13030082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RESTRICTED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04265599"/>
      </p:ext>
    </p:extLst>
  </p:cSld>
  <p:clrMapOvr>
    <a:masterClrMapping/>
  </p:clrMapOvr>
  <p:transition/>
  <p:hf hdr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 bwMode="gray">
          <a:xfrm>
            <a:off x="744114" y="3556002"/>
            <a:ext cx="6875879" cy="2803523"/>
            <a:chOff x="744114" y="3556002"/>
            <a:chExt cx="6875879" cy="2803523"/>
          </a:xfrm>
        </p:grpSpPr>
        <p:sp>
          <p:nvSpPr>
            <p:cNvPr id="113" name="Rectangle 112"/>
            <p:cNvSpPr/>
            <p:nvPr userDrawn="1"/>
          </p:nvSpPr>
          <p:spPr bwMode="gray">
            <a:xfrm>
              <a:off x="761993" y="3556002"/>
              <a:ext cx="6858000" cy="2803523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10" name="Rectangle 109" descr="&lt;Shell Yellow Bar&gt;" title="&lt;Shell Yellow Bar&gt;"/>
            <p:cNvSpPr/>
            <p:nvPr userDrawn="1"/>
          </p:nvSpPr>
          <p:spPr bwMode="gray">
            <a:xfrm>
              <a:off x="2175500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pic>
          <p:nvPicPr>
            <p:cNvPr id="111" name="Picture 110" descr="PECTEN.png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744114" y="3678108"/>
              <a:ext cx="1465237" cy="1465237"/>
            </a:xfrm>
            <a:prstGeom prst="rect">
              <a:avLst/>
            </a:prstGeom>
          </p:spPr>
        </p:pic>
      </p:grpSp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0" y="1"/>
            <a:ext cx="12194723" cy="4866892"/>
          </a:xfrm>
          <a:custGeom>
            <a:avLst/>
            <a:gdLst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0 w 12192000"/>
              <a:gd name="connsiteY3" fmla="*/ 4854636 h 4854636"/>
              <a:gd name="connsiteX4" fmla="*/ 0 w 12192000"/>
              <a:gd name="connsiteY4" fmla="*/ 0 h 4854636"/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592282 w 12192000"/>
              <a:gd name="connsiteY3" fmla="*/ 4842164 h 4854636"/>
              <a:gd name="connsiteX4" fmla="*/ 0 w 12192000"/>
              <a:gd name="connsiteY4" fmla="*/ 4854636 h 4854636"/>
              <a:gd name="connsiteX5" fmla="*/ 0 w 12192000"/>
              <a:gd name="connsiteY5" fmla="*/ 0 h 485463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592282 w 12192000"/>
              <a:gd name="connsiteY3" fmla="*/ 4842164 h 4888026"/>
              <a:gd name="connsiteX4" fmla="*/ 0 w 12192000"/>
              <a:gd name="connsiteY4" fmla="*/ 4854636 h 4888026"/>
              <a:gd name="connsiteX5" fmla="*/ 0 w 12192000"/>
              <a:gd name="connsiteY5" fmla="*/ 0 h 488802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841664 w 12192000"/>
              <a:gd name="connsiteY3" fmla="*/ 2909455 h 4888026"/>
              <a:gd name="connsiteX4" fmla="*/ 592282 w 12192000"/>
              <a:gd name="connsiteY4" fmla="*/ 4842164 h 4888026"/>
              <a:gd name="connsiteX5" fmla="*/ 0 w 12192000"/>
              <a:gd name="connsiteY5" fmla="*/ 4854636 h 4888026"/>
              <a:gd name="connsiteX6" fmla="*/ 0 w 12192000"/>
              <a:gd name="connsiteY6" fmla="*/ 0 h 4888026"/>
              <a:gd name="connsiteX0" fmla="*/ 0 w 12192000"/>
              <a:gd name="connsiteY0" fmla="*/ 0 h 4982265"/>
              <a:gd name="connsiteX1" fmla="*/ 12192000 w 12192000"/>
              <a:gd name="connsiteY1" fmla="*/ 0 h 4982265"/>
              <a:gd name="connsiteX2" fmla="*/ 12192000 w 12192000"/>
              <a:gd name="connsiteY2" fmla="*/ 4854636 h 4982265"/>
              <a:gd name="connsiteX3" fmla="*/ 7606145 w 12192000"/>
              <a:gd name="connsiteY3" fmla="*/ 3543300 h 4982265"/>
              <a:gd name="connsiteX4" fmla="*/ 841664 w 12192000"/>
              <a:gd name="connsiteY4" fmla="*/ 2909455 h 4982265"/>
              <a:gd name="connsiteX5" fmla="*/ 592282 w 12192000"/>
              <a:gd name="connsiteY5" fmla="*/ 4842164 h 4982265"/>
              <a:gd name="connsiteX6" fmla="*/ 0 w 12192000"/>
              <a:gd name="connsiteY6" fmla="*/ 4854636 h 4982265"/>
              <a:gd name="connsiteX7" fmla="*/ 0 w 12192000"/>
              <a:gd name="connsiteY7" fmla="*/ 0 h 4982265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592282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61702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6071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48146 w 12192000"/>
              <a:gd name="connsiteY5" fmla="*/ 3564082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7795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872233 w 12194382"/>
              <a:gd name="connsiteY6" fmla="*/ 4872048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45920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82443"/>
              <a:gd name="connsiteX1" fmla="*/ 12194382 w 12194382"/>
              <a:gd name="connsiteY1" fmla="*/ 0 h 5182443"/>
              <a:gd name="connsiteX2" fmla="*/ 12194382 w 12194382"/>
              <a:gd name="connsiteY2" fmla="*/ 4854636 h 5182443"/>
              <a:gd name="connsiteX3" fmla="*/ 7623248 w 12194382"/>
              <a:gd name="connsiteY3" fmla="*/ 4843680 h 5182443"/>
              <a:gd name="connsiteX4" fmla="*/ 7620433 w 12194382"/>
              <a:gd name="connsiteY4" fmla="*/ 3543300 h 5182443"/>
              <a:gd name="connsiteX5" fmla="*/ 762115 w 12194382"/>
              <a:gd name="connsiteY5" fmla="*/ 3547023 h 5182443"/>
              <a:gd name="connsiteX6" fmla="*/ 762695 w 12194382"/>
              <a:gd name="connsiteY6" fmla="*/ 4850671 h 5182443"/>
              <a:gd name="connsiteX7" fmla="*/ 0 w 12194382"/>
              <a:gd name="connsiteY7" fmla="*/ 4847509 h 5182443"/>
              <a:gd name="connsiteX8" fmla="*/ 2382 w 12194382"/>
              <a:gd name="connsiteY8" fmla="*/ 0 h 5182443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723"/>
              <a:gd name="connsiteY0" fmla="*/ 0 h 4854829"/>
              <a:gd name="connsiteX1" fmla="*/ 12194382 w 12194723"/>
              <a:gd name="connsiteY1" fmla="*/ 0 h 4854829"/>
              <a:gd name="connsiteX2" fmla="*/ 12194382 w 12194723"/>
              <a:gd name="connsiteY2" fmla="*/ 4854636 h 4854829"/>
              <a:gd name="connsiteX3" fmla="*/ 7623248 w 12194723"/>
              <a:gd name="connsiteY3" fmla="*/ 4843680 h 4854829"/>
              <a:gd name="connsiteX4" fmla="*/ 7620433 w 12194723"/>
              <a:gd name="connsiteY4" fmla="*/ 3543300 h 4854829"/>
              <a:gd name="connsiteX5" fmla="*/ 762115 w 12194723"/>
              <a:gd name="connsiteY5" fmla="*/ 3547023 h 4854829"/>
              <a:gd name="connsiteX6" fmla="*/ 762695 w 12194723"/>
              <a:gd name="connsiteY6" fmla="*/ 4850671 h 4854829"/>
              <a:gd name="connsiteX7" fmla="*/ 0 w 12194723"/>
              <a:gd name="connsiteY7" fmla="*/ 4847509 h 4854829"/>
              <a:gd name="connsiteX8" fmla="*/ 2382 w 12194723"/>
              <a:gd name="connsiteY8" fmla="*/ 0 h 4854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4723" h="4854829">
                <a:moveTo>
                  <a:pt x="2382" y="0"/>
                </a:moveTo>
                <a:lnTo>
                  <a:pt x="12194382" y="0"/>
                </a:lnTo>
                <a:cubicBezTo>
                  <a:pt x="12194382" y="1618212"/>
                  <a:pt x="12195150" y="4852730"/>
                  <a:pt x="12194382" y="4854636"/>
                </a:cubicBezTo>
                <a:cubicBezTo>
                  <a:pt x="12193614" y="4856542"/>
                  <a:pt x="7623176" y="4843704"/>
                  <a:pt x="7623248" y="4843680"/>
                </a:cubicBezTo>
                <a:cubicBezTo>
                  <a:pt x="7623320" y="4843656"/>
                  <a:pt x="7618248" y="3540554"/>
                  <a:pt x="7620433" y="3543300"/>
                </a:cubicBezTo>
                <a:cubicBezTo>
                  <a:pt x="7622618" y="3546046"/>
                  <a:pt x="3048221" y="3545782"/>
                  <a:pt x="762115" y="3547023"/>
                </a:cubicBezTo>
                <a:cubicBezTo>
                  <a:pt x="760398" y="3777370"/>
                  <a:pt x="763508" y="4852455"/>
                  <a:pt x="762695" y="4850671"/>
                </a:cubicBezTo>
                <a:cubicBezTo>
                  <a:pt x="761882" y="4848887"/>
                  <a:pt x="254232" y="4848563"/>
                  <a:pt x="0" y="4847509"/>
                </a:cubicBezTo>
                <a:lnTo>
                  <a:pt x="2382" y="0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106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760379" y="6462713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+mn-lt"/>
                <a:cs typeface="Arial" pitchFamily="34" charset="0"/>
              </a:rPr>
              <a:t>Copyright of SPDC JV</a:t>
            </a:r>
          </a:p>
        </p:txBody>
      </p:sp>
      <p:sp>
        <p:nvSpPr>
          <p:cNvPr id="10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1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75500" y="4003696"/>
            <a:ext cx="5179738" cy="834301"/>
          </a:xfrm>
          <a:noFill/>
        </p:spPr>
        <p:txBody>
          <a:bodyPr lIns="0" tIns="0" rIns="0" anchor="ctr" anchorCtr="0"/>
          <a:lstStyle>
            <a:lvl1pPr>
              <a:lnSpc>
                <a:spcPct val="100000"/>
              </a:lnSpc>
              <a:defRPr sz="2400" b="0" kern="1200" cap="none" spc="0" baseline="0">
                <a:solidFill>
                  <a:schemeClr val="tx1"/>
                </a:solidFill>
                <a:latin typeface="ShellBold" panose="00000800000000000000" pitchFamily="50" charset="0"/>
                <a:cs typeface="Arial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1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75500" y="5120640"/>
            <a:ext cx="5179738" cy="372439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4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104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2175500" y="5666465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ShellBold" panose="00000800000000000000" pitchFamily="50" charset="0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105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2175500" y="5923869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1"/>
              <a:t>Click to insert Role in Organisation</a:t>
            </a:r>
          </a:p>
        </p:txBody>
      </p:sp>
      <p:sp>
        <p:nvSpPr>
          <p:cNvPr id="8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16" name="TextBox 15" descr="CONFIDENTIAL_TAG_0xFFEE">
            <a:extLst>
              <a:ext uri="{FF2B5EF4-FFF2-40B4-BE49-F238E27FC236}">
                <a16:creationId xmlns:a16="http://schemas.microsoft.com/office/drawing/2014/main" id="{989D1AF5-FA0F-461B-8536-1786EECE0E6F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RESTRICTED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77029725"/>
      </p:ext>
    </p:extLst>
  </p:cSld>
  <p:clrMapOvr>
    <a:masterClrMapping/>
  </p:clrMapOvr>
  <p:transition/>
  <p:hf hdr="0"/>
  <p:extLst>
    <p:ext uri="{DCECCB84-F9BA-43D5-87BE-67443E8EF086}">
      <p15:sldGuideLst xmlns:p15="http://schemas.microsoft.com/office/powerpoint/2012/main">
        <p15:guide id="1" orient="horz" pos="3058">
          <p15:clr>
            <a:srgbClr val="FBAE40"/>
          </p15:clr>
        </p15:guide>
        <p15:guide id="2" orient="horz" pos="2235">
          <p15:clr>
            <a:srgbClr val="FBAE40"/>
          </p15:clr>
        </p15:guide>
        <p15:guide id="3" orient="horz" pos="2562">
          <p15:clr>
            <a:srgbClr val="FBAE40"/>
          </p15:clr>
        </p15:guide>
        <p15:guide id="4" orient="horz" pos="2992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 descr="&lt;ignore&gt;"/>
          <p:cNvSpPr>
            <a:spLocks noGrp="1"/>
          </p:cNvSpPr>
          <p:nvPr>
            <p:ph type="pic" sz="quarter" idx="12"/>
          </p:nvPr>
        </p:nvSpPr>
        <p:spPr bwMode="auto">
          <a:xfrm>
            <a:off x="0" y="0"/>
            <a:ext cx="12194723" cy="6857999"/>
          </a:xfrm>
          <a:custGeom>
            <a:avLst/>
            <a:gdLst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63913 w 12194723"/>
              <a:gd name="connsiteY5" fmla="*/ 763913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63913 w 12194723"/>
              <a:gd name="connsiteY9" fmla="*/ 763913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97906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3336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18431 w 12194723"/>
              <a:gd name="connsiteY7" fmla="*/ 6359075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4723" h="6857999">
                <a:moveTo>
                  <a:pt x="0" y="0"/>
                </a:moveTo>
                <a:lnTo>
                  <a:pt x="12194723" y="0"/>
                </a:lnTo>
                <a:lnTo>
                  <a:pt x="12194723" y="6857999"/>
                </a:lnTo>
                <a:lnTo>
                  <a:pt x="0" y="6857999"/>
                </a:lnTo>
                <a:lnTo>
                  <a:pt x="0" y="0"/>
                </a:lnTo>
                <a:close/>
                <a:moveTo>
                  <a:pt x="753155" y="3560901"/>
                </a:moveTo>
                <a:lnTo>
                  <a:pt x="763913" y="6359075"/>
                </a:lnTo>
                <a:lnTo>
                  <a:pt x="7622163" y="6355342"/>
                </a:lnTo>
                <a:cubicBezTo>
                  <a:pt x="7618577" y="5510947"/>
                  <a:pt x="7626189" y="4405296"/>
                  <a:pt x="7622603" y="3560901"/>
                </a:cubicBezTo>
                <a:lnTo>
                  <a:pt x="753155" y="3560901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grpSp>
        <p:nvGrpSpPr>
          <p:cNvPr id="2" name="Group 1"/>
          <p:cNvGrpSpPr/>
          <p:nvPr userDrawn="1"/>
        </p:nvGrpSpPr>
        <p:grpSpPr bwMode="gray">
          <a:xfrm>
            <a:off x="744114" y="3556002"/>
            <a:ext cx="6875879" cy="2803523"/>
            <a:chOff x="744114" y="3556002"/>
            <a:chExt cx="6875879" cy="2803523"/>
          </a:xfrm>
        </p:grpSpPr>
        <p:sp>
          <p:nvSpPr>
            <p:cNvPr id="113" name="Rectangle 112"/>
            <p:cNvSpPr/>
            <p:nvPr userDrawn="1"/>
          </p:nvSpPr>
          <p:spPr bwMode="gray">
            <a:xfrm>
              <a:off x="761993" y="3556002"/>
              <a:ext cx="6858000" cy="2803523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10" name="Rectangle 109" descr="&lt;Shell Yellow Bar&gt;" title="&lt;Shell Yellow Bar&gt;"/>
            <p:cNvSpPr/>
            <p:nvPr userDrawn="1"/>
          </p:nvSpPr>
          <p:spPr bwMode="gray">
            <a:xfrm>
              <a:off x="2175500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pic>
          <p:nvPicPr>
            <p:cNvPr id="111" name="Picture 110" descr="PECTEN.png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744114" y="3678108"/>
              <a:ext cx="1465237" cy="1465237"/>
            </a:xfrm>
            <a:prstGeom prst="rect">
              <a:avLst/>
            </a:prstGeom>
          </p:spPr>
        </p:pic>
      </p:grpSp>
      <p:sp>
        <p:nvSpPr>
          <p:cNvPr id="106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760379" y="6462713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 B.V.</a:t>
            </a:r>
          </a:p>
        </p:txBody>
      </p:sp>
      <p:sp>
        <p:nvSpPr>
          <p:cNvPr id="10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1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75500" y="4003200"/>
            <a:ext cx="5179738" cy="835200"/>
          </a:xfrm>
          <a:noFill/>
        </p:spPr>
        <p:txBody>
          <a:bodyPr lIns="0" tIns="0" rIns="0" anchor="ctr" anchorCtr="0"/>
          <a:lstStyle>
            <a:lvl1pPr>
              <a:lnSpc>
                <a:spcPct val="100000"/>
              </a:lnSpc>
              <a:defRPr sz="2400" b="0" kern="1200" cap="none" spc="0" baseline="0">
                <a:solidFill>
                  <a:schemeClr val="tx1"/>
                </a:solidFill>
                <a:latin typeface="ShellBold" panose="00000800000000000000" pitchFamily="50" charset="0"/>
                <a:cs typeface="Arial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1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75500" y="5120640"/>
            <a:ext cx="5179738" cy="372439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4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104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2175500" y="5666465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ShellBold" panose="00000800000000000000" pitchFamily="50" charset="0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105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2175500" y="5923869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1"/>
              <a:t>Click to insert Role in Organisation</a:t>
            </a:r>
          </a:p>
        </p:txBody>
      </p:sp>
      <p:sp>
        <p:nvSpPr>
          <p:cNvPr id="9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November 2022</a:t>
            </a:r>
          </a:p>
        </p:txBody>
      </p:sp>
      <p:sp>
        <p:nvSpPr>
          <p:cNvPr id="8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16" name="TextBox 15" descr="CONFIDENTIAL_TAG_0xFFEE">
            <a:extLst>
              <a:ext uri="{FF2B5EF4-FFF2-40B4-BE49-F238E27FC236}">
                <a16:creationId xmlns:a16="http://schemas.microsoft.com/office/drawing/2014/main" id="{9648E04D-AF0A-4E36-8948-2281D6B04607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RESTRICTED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8504257"/>
      </p:ext>
    </p:extLst>
  </p:cSld>
  <p:clrMapOvr>
    <a:masterClrMapping/>
  </p:clrMapOvr>
  <p:transition/>
  <p:hf hdr="0"/>
  <p:extLst>
    <p:ext uri="{DCECCB84-F9BA-43D5-87BE-67443E8EF086}">
      <p15:sldGuideLst xmlns:p15="http://schemas.microsoft.com/office/powerpoint/2012/main">
        <p15:guide id="1" orient="horz" pos="3058">
          <p15:clr>
            <a:srgbClr val="FBAE40"/>
          </p15:clr>
        </p15:guide>
        <p15:guide id="2" orient="horz" pos="223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  <a:latin typeface="ShellBold" panose="00000800000000000000" pitchFamily="50" charset="0"/>
              </a:defRPr>
            </a:lvl1pPr>
          </a:lstStyle>
          <a:p>
            <a:pPr lvl="0"/>
            <a:r>
              <a:rPr lang="en-GB" noProof="0"/>
              <a:t>Click to edit Master title style</a:t>
            </a:r>
            <a:endParaRPr lang="en-GB" noProof="0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1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59000" indent="-228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3pPr>
            <a:lvl4pPr marL="687600" indent="-228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4pPr>
            <a:lvl5pPr marL="890800" indent="-2032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5pPr>
            <a:lvl6pPr marL="1043200" indent="-1524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9" name="TextBox 8" descr="CONFIDENTIAL_TAG_0xFFEE">
            <a:extLst>
              <a:ext uri="{FF2B5EF4-FFF2-40B4-BE49-F238E27FC236}">
                <a16:creationId xmlns:a16="http://schemas.microsoft.com/office/drawing/2014/main" id="{4DE3017C-6AC1-4C00-914B-7EB3CF71AB04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RESTRICTED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11825475"/>
      </p:ext>
    </p:extLst>
  </p:cSld>
  <p:clrMapOvr>
    <a:masterClrMapping/>
  </p:clrMapOvr>
  <p:transition/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813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2" descr="&lt;ignore&gt;"/>
          <p:cNvSpPr>
            <a:spLocks noGrp="1"/>
          </p:cNvSpPr>
          <p:nvPr>
            <p:ph type="pic" sz="quarter" idx="12"/>
          </p:nvPr>
        </p:nvSpPr>
        <p:spPr bwMode="auto">
          <a:xfrm>
            <a:off x="-2381" y="0"/>
            <a:ext cx="12194382" cy="6858000"/>
          </a:xfrm>
          <a:custGeom>
            <a:avLst/>
            <a:gdLst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63913 w 12194723"/>
              <a:gd name="connsiteY5" fmla="*/ 763913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63913 w 12194723"/>
              <a:gd name="connsiteY9" fmla="*/ 763913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97906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3336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18431 w 12194723"/>
              <a:gd name="connsiteY7" fmla="*/ 6359075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482698 w 12194723"/>
              <a:gd name="connsiteY5" fmla="*/ 482850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482698 w 12194723"/>
              <a:gd name="connsiteY9" fmla="*/ 48285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7622163 w 12194723"/>
              <a:gd name="connsiteY7" fmla="*/ 6355342 h 6857999"/>
              <a:gd name="connsiteX8" fmla="*/ 1788474 w 12194723"/>
              <a:gd name="connsiteY8" fmla="*/ 508608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63833 w 12194723"/>
              <a:gd name="connsiteY8" fmla="*/ 5061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96313 w 12194723"/>
              <a:gd name="connsiteY8" fmla="*/ 486123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66332 w 12194723"/>
              <a:gd name="connsiteY8" fmla="*/ 381191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6445 w 12194723"/>
              <a:gd name="connsiteY8" fmla="*/ 558575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6109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36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36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53965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4 w 12194723"/>
              <a:gd name="connsiteY8" fmla="*/ 503609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5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4723" h="6857999">
                <a:moveTo>
                  <a:pt x="0" y="0"/>
                </a:moveTo>
                <a:lnTo>
                  <a:pt x="12194723" y="0"/>
                </a:lnTo>
                <a:lnTo>
                  <a:pt x="12194723" y="6857999"/>
                </a:lnTo>
                <a:lnTo>
                  <a:pt x="0" y="6857999"/>
                </a:lnTo>
                <a:lnTo>
                  <a:pt x="0" y="0"/>
                </a:lnTo>
                <a:close/>
                <a:moveTo>
                  <a:pt x="508891" y="511425"/>
                </a:moveTo>
                <a:cubicBezTo>
                  <a:pt x="509626" y="566329"/>
                  <a:pt x="510362" y="528366"/>
                  <a:pt x="511097" y="583270"/>
                </a:cubicBezTo>
                <a:lnTo>
                  <a:pt x="1774181" y="585272"/>
                </a:lnTo>
                <a:cubicBezTo>
                  <a:pt x="1771177" y="584735"/>
                  <a:pt x="1784691" y="508891"/>
                  <a:pt x="1769076" y="508490"/>
                </a:cubicBezTo>
                <a:cubicBezTo>
                  <a:pt x="1753461" y="508089"/>
                  <a:pt x="928953" y="510447"/>
                  <a:pt x="508891" y="511425"/>
                </a:cubicBezTo>
                <a:close/>
              </a:path>
            </a:pathLst>
          </a:custGeom>
          <a:noFill/>
          <a:ln w="317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  <a:latin typeface="ShellBold" panose="00000800000000000000" pitchFamily="50" charset="0"/>
              </a:defRPr>
            </a:lvl1pPr>
          </a:lstStyle>
          <a:p>
            <a:pPr lvl="0"/>
            <a:r>
              <a:rPr lang="en-GB" noProof="0"/>
              <a:t>Click to edit Master title style</a:t>
            </a:r>
            <a:endParaRPr lang="en-GB" noProof="0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5468938" cy="4830761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59000" indent="-228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3pPr>
            <a:lvl4pPr marL="687600" indent="-228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4pPr>
            <a:lvl5pPr marL="890800" indent="-2032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5pPr>
            <a:lvl6pPr marL="1043200" indent="-1524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November 2022</a:t>
            </a:r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12" name="TextBox 11" descr="CONFIDENTIAL_TAG_0xFFEE">
            <a:extLst>
              <a:ext uri="{FF2B5EF4-FFF2-40B4-BE49-F238E27FC236}">
                <a16:creationId xmlns:a16="http://schemas.microsoft.com/office/drawing/2014/main" id="{E2BF5A55-194C-4231-8BF1-1CB397520418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RESTRICTED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59689857"/>
      </p:ext>
    </p:extLst>
  </p:cSld>
  <p:clrMapOvr>
    <a:masterClrMapping/>
  </p:clrMapOvr>
  <p:transition/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813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Hig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sz="2400" b="0" kern="1200" cap="none" baseline="0" noProof="0" dirty="0" smtClean="0">
                <a:solidFill>
                  <a:schemeClr val="tx1"/>
                </a:solidFill>
                <a:latin typeface="ShellBold" panose="00000800000000000000" pitchFamily="50" charset="0"/>
                <a:ea typeface="+mj-ea"/>
                <a:cs typeface="+mj-cs"/>
              </a:defRPr>
            </a:lvl1pPr>
          </a:lstStyle>
          <a:p>
            <a:pPr lvl="0"/>
            <a:r>
              <a:rPr lang="en-GB" noProof="0"/>
              <a:t>Click to edit Master title style</a:t>
            </a:r>
            <a:endParaRPr lang="en-GB" noProof="0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400"/>
            </a:lvl1pPr>
            <a:lvl2pPr marL="176400" indent="-176400" defTabSz="357708">
              <a:lnSpc>
                <a:spcPct val="140000"/>
              </a:lnSpc>
              <a:spcBef>
                <a:spcPts val="0"/>
              </a:spcBef>
              <a:defRPr sz="1400"/>
            </a:lvl2pPr>
            <a:lvl3pPr marL="354200" indent="-1778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400"/>
            </a:lvl3pPr>
            <a:lvl4pPr marL="532000" indent="-1778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400"/>
            </a:lvl4pPr>
            <a:lvl5pPr marL="684400" indent="-1524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tabLst/>
              <a:defRPr sz="1200"/>
            </a:lvl5pPr>
            <a:lvl6pPr marL="824100" indent="-1397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10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4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November 2022</a:t>
            </a:r>
          </a:p>
        </p:txBody>
      </p:sp>
      <p:sp>
        <p:nvSpPr>
          <p:cNvPr id="1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1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8" name="TextBox 7" descr="CONFIDENTIAL_TAG_0xFFEE">
            <a:extLst>
              <a:ext uri="{FF2B5EF4-FFF2-40B4-BE49-F238E27FC236}">
                <a16:creationId xmlns:a16="http://schemas.microsoft.com/office/drawing/2014/main" id="{E891EA9C-28D4-464D-8143-9D98924B2AE5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RESTRICTED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80963776"/>
      </p:ext>
    </p:extLst>
  </p:cSld>
  <p:clrMapOvr>
    <a:masterClrMapping/>
  </p:clrMapOvr>
  <p:transition/>
  <p:hf hdr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16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sz="2400" b="0" kern="1200" cap="none" baseline="0" noProof="0" dirty="0" smtClean="0">
                <a:solidFill>
                  <a:schemeClr val="tx1"/>
                </a:solidFill>
                <a:latin typeface="ShellBold" panose="00000800000000000000" pitchFamily="50" charset="0"/>
                <a:ea typeface="+mj-ea"/>
                <a:cs typeface="+mj-cs"/>
              </a:defRPr>
            </a:lvl1pPr>
          </a:lstStyle>
          <a:p>
            <a:pPr lvl="0"/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10" name="Content Placeholder 14"/>
          <p:cNvSpPr>
            <a:spLocks noGrp="1"/>
          </p:cNvSpPr>
          <p:nvPr>
            <p:ph sz="quarter" idx="13"/>
          </p:nvPr>
        </p:nvSpPr>
        <p:spPr>
          <a:xfrm>
            <a:off x="6215064" y="1528764"/>
            <a:ext cx="5464174" cy="4830761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/>
            </a:lvl1pPr>
            <a:lvl2pPr marL="230400" indent="-2304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/>
            </a:lvl2pPr>
            <a:lvl3pPr marL="459000" indent="-228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3pPr>
            <a:lvl4pPr marL="687600" indent="-228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4pPr>
            <a:lvl5pPr marL="890800" indent="-203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600"/>
            </a:lvl5pPr>
            <a:lvl6pPr marL="1043200" indent="-152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2"/>
            <a:ext cx="5468938" cy="4830763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/>
            </a:lvl1pPr>
            <a:lvl2pPr marL="230400" indent="-2304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/>
            </a:lvl2pPr>
            <a:lvl3pPr marL="459000" indent="-228600"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3pPr>
            <a:lvl4pPr marL="687600" indent="-228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4pPr>
            <a:lvl5pPr marL="890800" indent="-203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600"/>
            </a:lvl5pPr>
            <a:lvl6pPr marL="1043200" indent="-152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November 2022</a:t>
            </a:r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9" name="TextBox 8" descr="CONFIDENTIAL_TAG_0xFFEE">
            <a:extLst>
              <a:ext uri="{FF2B5EF4-FFF2-40B4-BE49-F238E27FC236}">
                <a16:creationId xmlns:a16="http://schemas.microsoft.com/office/drawing/2014/main" id="{8EF293B0-B086-4E15-90E5-E1976DC74CEA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RESTRICTED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61291981"/>
      </p:ext>
    </p:extLst>
  </p:cSld>
  <p:clrMapOvr>
    <a:masterClrMapping/>
  </p:clrMapOvr>
  <p:transition/>
  <p:hf hdr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765">
          <p15:clr>
            <a:srgbClr val="FBAE40"/>
          </p15:clr>
        </p15:guide>
        <p15:guide id="3" pos="3915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 bwMode="gray">
          <a:xfrm>
            <a:off x="744114" y="3556002"/>
            <a:ext cx="6875879" cy="2803523"/>
            <a:chOff x="744114" y="3556002"/>
            <a:chExt cx="6875879" cy="2803523"/>
          </a:xfrm>
        </p:grpSpPr>
        <p:sp>
          <p:nvSpPr>
            <p:cNvPr id="113" name="Rectangle 112"/>
            <p:cNvSpPr/>
            <p:nvPr userDrawn="1"/>
          </p:nvSpPr>
          <p:spPr bwMode="gray">
            <a:xfrm>
              <a:off x="761993" y="3556002"/>
              <a:ext cx="6858000" cy="2803523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10" name="Rectangle 109" descr="&lt;Shell Yellow Bar&gt;" title="&lt;Shell Yellow Bar&gt;"/>
            <p:cNvSpPr/>
            <p:nvPr userDrawn="1"/>
          </p:nvSpPr>
          <p:spPr bwMode="gray">
            <a:xfrm>
              <a:off x="2175500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pic>
          <p:nvPicPr>
            <p:cNvPr id="111" name="Picture 110" descr="PECTEN.png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744114" y="3678108"/>
              <a:ext cx="1465237" cy="1465237"/>
            </a:xfrm>
            <a:prstGeom prst="rect">
              <a:avLst/>
            </a:prstGeom>
          </p:spPr>
        </p:pic>
      </p:grpSp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2" y="1"/>
            <a:ext cx="12194723" cy="4866892"/>
          </a:xfrm>
          <a:custGeom>
            <a:avLst/>
            <a:gdLst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0 w 12192000"/>
              <a:gd name="connsiteY3" fmla="*/ 4854636 h 4854636"/>
              <a:gd name="connsiteX4" fmla="*/ 0 w 12192000"/>
              <a:gd name="connsiteY4" fmla="*/ 0 h 4854636"/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592282 w 12192000"/>
              <a:gd name="connsiteY3" fmla="*/ 4842164 h 4854636"/>
              <a:gd name="connsiteX4" fmla="*/ 0 w 12192000"/>
              <a:gd name="connsiteY4" fmla="*/ 4854636 h 4854636"/>
              <a:gd name="connsiteX5" fmla="*/ 0 w 12192000"/>
              <a:gd name="connsiteY5" fmla="*/ 0 h 485463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592282 w 12192000"/>
              <a:gd name="connsiteY3" fmla="*/ 4842164 h 4888026"/>
              <a:gd name="connsiteX4" fmla="*/ 0 w 12192000"/>
              <a:gd name="connsiteY4" fmla="*/ 4854636 h 4888026"/>
              <a:gd name="connsiteX5" fmla="*/ 0 w 12192000"/>
              <a:gd name="connsiteY5" fmla="*/ 0 h 488802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841664 w 12192000"/>
              <a:gd name="connsiteY3" fmla="*/ 2909455 h 4888026"/>
              <a:gd name="connsiteX4" fmla="*/ 592282 w 12192000"/>
              <a:gd name="connsiteY4" fmla="*/ 4842164 h 4888026"/>
              <a:gd name="connsiteX5" fmla="*/ 0 w 12192000"/>
              <a:gd name="connsiteY5" fmla="*/ 4854636 h 4888026"/>
              <a:gd name="connsiteX6" fmla="*/ 0 w 12192000"/>
              <a:gd name="connsiteY6" fmla="*/ 0 h 4888026"/>
              <a:gd name="connsiteX0" fmla="*/ 0 w 12192000"/>
              <a:gd name="connsiteY0" fmla="*/ 0 h 4982265"/>
              <a:gd name="connsiteX1" fmla="*/ 12192000 w 12192000"/>
              <a:gd name="connsiteY1" fmla="*/ 0 h 4982265"/>
              <a:gd name="connsiteX2" fmla="*/ 12192000 w 12192000"/>
              <a:gd name="connsiteY2" fmla="*/ 4854636 h 4982265"/>
              <a:gd name="connsiteX3" fmla="*/ 7606145 w 12192000"/>
              <a:gd name="connsiteY3" fmla="*/ 3543300 h 4982265"/>
              <a:gd name="connsiteX4" fmla="*/ 841664 w 12192000"/>
              <a:gd name="connsiteY4" fmla="*/ 2909455 h 4982265"/>
              <a:gd name="connsiteX5" fmla="*/ 592282 w 12192000"/>
              <a:gd name="connsiteY5" fmla="*/ 4842164 h 4982265"/>
              <a:gd name="connsiteX6" fmla="*/ 0 w 12192000"/>
              <a:gd name="connsiteY6" fmla="*/ 4854636 h 4982265"/>
              <a:gd name="connsiteX7" fmla="*/ 0 w 12192000"/>
              <a:gd name="connsiteY7" fmla="*/ 0 h 4982265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592282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61702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6071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48146 w 12192000"/>
              <a:gd name="connsiteY5" fmla="*/ 3564082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7795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872233 w 12194382"/>
              <a:gd name="connsiteY6" fmla="*/ 4872048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45920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82443"/>
              <a:gd name="connsiteX1" fmla="*/ 12194382 w 12194382"/>
              <a:gd name="connsiteY1" fmla="*/ 0 h 5182443"/>
              <a:gd name="connsiteX2" fmla="*/ 12194382 w 12194382"/>
              <a:gd name="connsiteY2" fmla="*/ 4854636 h 5182443"/>
              <a:gd name="connsiteX3" fmla="*/ 7623248 w 12194382"/>
              <a:gd name="connsiteY3" fmla="*/ 4843680 h 5182443"/>
              <a:gd name="connsiteX4" fmla="*/ 7620433 w 12194382"/>
              <a:gd name="connsiteY4" fmla="*/ 3543300 h 5182443"/>
              <a:gd name="connsiteX5" fmla="*/ 762115 w 12194382"/>
              <a:gd name="connsiteY5" fmla="*/ 3547023 h 5182443"/>
              <a:gd name="connsiteX6" fmla="*/ 762695 w 12194382"/>
              <a:gd name="connsiteY6" fmla="*/ 4850671 h 5182443"/>
              <a:gd name="connsiteX7" fmla="*/ 0 w 12194382"/>
              <a:gd name="connsiteY7" fmla="*/ 4847509 h 5182443"/>
              <a:gd name="connsiteX8" fmla="*/ 2382 w 12194382"/>
              <a:gd name="connsiteY8" fmla="*/ 0 h 5182443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723"/>
              <a:gd name="connsiteY0" fmla="*/ 0 h 4854829"/>
              <a:gd name="connsiteX1" fmla="*/ 12194382 w 12194723"/>
              <a:gd name="connsiteY1" fmla="*/ 0 h 4854829"/>
              <a:gd name="connsiteX2" fmla="*/ 12194382 w 12194723"/>
              <a:gd name="connsiteY2" fmla="*/ 4854636 h 4854829"/>
              <a:gd name="connsiteX3" fmla="*/ 7623248 w 12194723"/>
              <a:gd name="connsiteY3" fmla="*/ 4843680 h 4854829"/>
              <a:gd name="connsiteX4" fmla="*/ 7620433 w 12194723"/>
              <a:gd name="connsiteY4" fmla="*/ 3543300 h 4854829"/>
              <a:gd name="connsiteX5" fmla="*/ 762115 w 12194723"/>
              <a:gd name="connsiteY5" fmla="*/ 3547023 h 4854829"/>
              <a:gd name="connsiteX6" fmla="*/ 762695 w 12194723"/>
              <a:gd name="connsiteY6" fmla="*/ 4850671 h 4854829"/>
              <a:gd name="connsiteX7" fmla="*/ 0 w 12194723"/>
              <a:gd name="connsiteY7" fmla="*/ 4847509 h 4854829"/>
              <a:gd name="connsiteX8" fmla="*/ 2382 w 12194723"/>
              <a:gd name="connsiteY8" fmla="*/ 0 h 4854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4723" h="4854829">
                <a:moveTo>
                  <a:pt x="2382" y="0"/>
                </a:moveTo>
                <a:lnTo>
                  <a:pt x="12194382" y="0"/>
                </a:lnTo>
                <a:cubicBezTo>
                  <a:pt x="12194382" y="1618212"/>
                  <a:pt x="12195150" y="4852730"/>
                  <a:pt x="12194382" y="4854636"/>
                </a:cubicBezTo>
                <a:cubicBezTo>
                  <a:pt x="12193614" y="4856542"/>
                  <a:pt x="7623176" y="4843704"/>
                  <a:pt x="7623248" y="4843680"/>
                </a:cubicBezTo>
                <a:cubicBezTo>
                  <a:pt x="7623320" y="4843656"/>
                  <a:pt x="7618248" y="3540554"/>
                  <a:pt x="7620433" y="3543300"/>
                </a:cubicBezTo>
                <a:cubicBezTo>
                  <a:pt x="7622618" y="3546046"/>
                  <a:pt x="3048221" y="3545782"/>
                  <a:pt x="762115" y="3547023"/>
                </a:cubicBezTo>
                <a:cubicBezTo>
                  <a:pt x="760398" y="3777370"/>
                  <a:pt x="763508" y="4852455"/>
                  <a:pt x="762695" y="4850671"/>
                </a:cubicBezTo>
                <a:cubicBezTo>
                  <a:pt x="761882" y="4848887"/>
                  <a:pt x="254232" y="4848563"/>
                  <a:pt x="0" y="4847509"/>
                </a:cubicBezTo>
                <a:lnTo>
                  <a:pt x="2382" y="0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6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760379" y="6462713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10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75500" y="4003696"/>
            <a:ext cx="5179738" cy="834301"/>
          </a:xfrm>
          <a:noFill/>
        </p:spPr>
        <p:txBody>
          <a:bodyPr lIns="0" tIns="0" rIns="0" anchor="ctr" anchorCtr="0"/>
          <a:lstStyle>
            <a:lvl1pPr>
              <a:lnSpc>
                <a:spcPct val="100000"/>
              </a:lnSpc>
              <a:defRPr sz="24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75500" y="5120640"/>
            <a:ext cx="5179738" cy="372439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4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4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2175500" y="5666465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105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2175500" y="5923869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9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7th November, 2018</a:t>
            </a:r>
            <a:endParaRPr lang="en-GB" dirty="0"/>
          </a:p>
        </p:txBody>
      </p:sp>
      <p:sp>
        <p:nvSpPr>
          <p:cNvPr id="8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 </a:t>
            </a:r>
            <a:endParaRPr lang="en-GB" dirty="0"/>
          </a:p>
        </p:txBody>
      </p:sp>
      <p:sp>
        <p:nvSpPr>
          <p:cNvPr id="17" name="TextBox 16" descr="CONFIDENTIAL_TAG_0xFFEE"/>
          <p:cNvSpPr txBox="1"/>
          <p:nvPr userDrawn="1"/>
        </p:nvSpPr>
        <p:spPr bwMode="auto">
          <a:xfrm>
            <a:off x="8466411" y="6469199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579975326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3058">
          <p15:clr>
            <a:srgbClr val="FBAE40"/>
          </p15:clr>
        </p15:guide>
        <p15:guide id="2" orient="horz" pos="2235">
          <p15:clr>
            <a:srgbClr val="FBAE40"/>
          </p15:clr>
        </p15:guide>
        <p15:guide id="3" orient="horz" pos="2562">
          <p15:clr>
            <a:srgbClr val="FBAE40"/>
          </p15:clr>
        </p15:guide>
        <p15:guide id="4" orient="horz" pos="2992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- Hig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dirty="0" smtClean="0">
                <a:latin typeface="ShellBold" panose="00000800000000000000" pitchFamily="50" charset="0"/>
              </a:defRPr>
            </a:lvl1pPr>
          </a:lstStyle>
          <a:p>
            <a:pPr lvl="0"/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10" name="Content Placeholder 14"/>
          <p:cNvSpPr>
            <a:spLocks noGrp="1"/>
          </p:cNvSpPr>
          <p:nvPr>
            <p:ph sz="quarter" idx="13"/>
          </p:nvPr>
        </p:nvSpPr>
        <p:spPr>
          <a:xfrm>
            <a:off x="6215063" y="1528764"/>
            <a:ext cx="5464175" cy="4830762"/>
          </a:xfrm>
        </p:spPr>
        <p:txBody>
          <a:bodyPr/>
          <a:lstStyle>
            <a:lvl1pPr marL="0" indent="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400"/>
            </a:lvl1pPr>
            <a:lvl2pPr marL="176400" indent="-176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400"/>
            </a:lvl2pPr>
            <a:lvl3pPr marL="354200" indent="-1778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3pPr>
            <a:lvl4pPr marL="532000" indent="-1778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4pPr>
            <a:lvl5pPr marL="684400" indent="-152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5pPr>
            <a:lvl6pPr marL="824100" indent="-1397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tabLst/>
              <a:defRPr sz="110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2"/>
            <a:ext cx="5468938" cy="4830763"/>
          </a:xfrm>
        </p:spPr>
        <p:txBody>
          <a:bodyPr/>
          <a:lstStyle>
            <a:lvl1pPr marL="0" indent="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400"/>
            </a:lvl1pPr>
            <a:lvl2pPr marL="176400" indent="-17640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400"/>
            </a:lvl2pPr>
            <a:lvl3pPr marL="354200" indent="-177800">
              <a:lnSpc>
                <a:spcPct val="140000"/>
              </a:lnSpc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400"/>
            </a:lvl3pPr>
            <a:lvl4pPr marL="532000" indent="-177800">
              <a:lnSpc>
                <a:spcPct val="140000"/>
              </a:lnSpc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4pPr>
            <a:lvl5pPr marL="684400" indent="-152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5pPr>
            <a:lvl6pPr marL="824100" indent="-1397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10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November 2022</a:t>
            </a:r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9" name="TextBox 8" descr="CONFIDENTIAL_TAG_0xFFEE">
            <a:extLst>
              <a:ext uri="{FF2B5EF4-FFF2-40B4-BE49-F238E27FC236}">
                <a16:creationId xmlns:a16="http://schemas.microsoft.com/office/drawing/2014/main" id="{0F1EBA21-E12C-46C7-A7D9-924EC3B70081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RESTRICTED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47674204"/>
      </p:ext>
    </p:extLst>
  </p:cSld>
  <p:clrMapOvr>
    <a:masterClrMapping/>
  </p:clrMapOvr>
  <p:transition/>
  <p:hf hdr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Content Placeholder 51"/>
          <p:cNvSpPr>
            <a:spLocks noGrp="1"/>
          </p:cNvSpPr>
          <p:nvPr>
            <p:ph sz="quarter" idx="29" hasCustomPrompt="1"/>
          </p:nvPr>
        </p:nvSpPr>
        <p:spPr>
          <a:xfrm>
            <a:off x="509312" y="6201069"/>
            <a:ext cx="5543051" cy="158455"/>
          </a:xfrm>
        </p:spPr>
        <p:txBody>
          <a:bodyPr wrap="square">
            <a:noAutofit/>
          </a:bodyPr>
          <a:lstStyle>
            <a:lvl1pPr>
              <a:defRPr sz="90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edit source</a:t>
            </a:r>
          </a:p>
        </p:txBody>
      </p:sp>
      <p:sp>
        <p:nvSpPr>
          <p:cNvPr id="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7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noProof="0" dirty="0" smtClean="0">
                <a:latin typeface="ShellBold" panose="00000800000000000000" pitchFamily="50" charset="0"/>
              </a:defRPr>
            </a:lvl1pPr>
          </a:lstStyle>
          <a:p>
            <a:pPr lvl="0"/>
            <a:r>
              <a:rPr lang="en-GB" noProof="0"/>
              <a:t>Click to edit Master title style</a:t>
            </a:r>
            <a:endParaRPr lang="en-GB" noProof="0" dirty="0"/>
          </a:p>
        </p:txBody>
      </p:sp>
      <p:sp>
        <p:nvSpPr>
          <p:cNvPr id="39" name="Content Placeholder 51"/>
          <p:cNvSpPr>
            <a:spLocks noGrp="1"/>
          </p:cNvSpPr>
          <p:nvPr>
            <p:ph sz="quarter" idx="45" hasCustomPrompt="1"/>
          </p:nvPr>
        </p:nvSpPr>
        <p:spPr>
          <a:xfrm>
            <a:off x="508000" y="4199574"/>
            <a:ext cx="5468938" cy="234616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40" name="Content Placeholder 51"/>
          <p:cNvSpPr>
            <a:spLocks noGrp="1"/>
          </p:cNvSpPr>
          <p:nvPr>
            <p:ph sz="quarter" idx="46" hasCustomPrompt="1"/>
          </p:nvPr>
        </p:nvSpPr>
        <p:spPr>
          <a:xfrm>
            <a:off x="508000" y="3864611"/>
            <a:ext cx="5468938" cy="268150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ShellBold" panose="00000800000000000000" pitchFamily="50" charset="0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41" name="Straight Connector 40"/>
          <p:cNvCxnSpPr/>
          <p:nvPr userDrawn="1"/>
        </p:nvCxnSpPr>
        <p:spPr>
          <a:xfrm>
            <a:off x="508000" y="4141370"/>
            <a:ext cx="5468938" cy="941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Chart Placeholder 16"/>
          <p:cNvSpPr>
            <a:spLocks noGrp="1"/>
          </p:cNvSpPr>
          <p:nvPr>
            <p:ph type="chart" sz="quarter" idx="47"/>
          </p:nvPr>
        </p:nvSpPr>
        <p:spPr>
          <a:xfrm>
            <a:off x="508000" y="4456229"/>
            <a:ext cx="5468938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/>
              <a:t>Click icon to add chart</a:t>
            </a:r>
            <a:endParaRPr lang="en-GB" dirty="0"/>
          </a:p>
        </p:txBody>
      </p:sp>
      <p:cxnSp>
        <p:nvCxnSpPr>
          <p:cNvPr id="43" name="Straight Connector 42"/>
          <p:cNvCxnSpPr/>
          <p:nvPr userDrawn="1"/>
        </p:nvCxnSpPr>
        <p:spPr>
          <a:xfrm flipV="1">
            <a:off x="508000" y="5966640"/>
            <a:ext cx="5468938" cy="188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Content Placeholder 51"/>
          <p:cNvSpPr>
            <a:spLocks noGrp="1"/>
          </p:cNvSpPr>
          <p:nvPr>
            <p:ph sz="quarter" idx="54" hasCustomPrompt="1"/>
          </p:nvPr>
        </p:nvSpPr>
        <p:spPr>
          <a:xfrm>
            <a:off x="508000" y="1863726"/>
            <a:ext cx="5468938" cy="234616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100" name="Content Placeholder 51"/>
          <p:cNvSpPr>
            <a:spLocks noGrp="1"/>
          </p:cNvSpPr>
          <p:nvPr>
            <p:ph sz="quarter" idx="55" hasCustomPrompt="1"/>
          </p:nvPr>
        </p:nvSpPr>
        <p:spPr>
          <a:xfrm>
            <a:off x="508000" y="1528763"/>
            <a:ext cx="5468938" cy="268150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ShellBold" panose="00000800000000000000" pitchFamily="50" charset="0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101" name="Straight Connector 100"/>
          <p:cNvCxnSpPr/>
          <p:nvPr userDrawn="1"/>
        </p:nvCxnSpPr>
        <p:spPr>
          <a:xfrm>
            <a:off x="508000" y="1805522"/>
            <a:ext cx="5468938" cy="941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Chart Placeholder 16"/>
          <p:cNvSpPr>
            <a:spLocks noGrp="1"/>
          </p:cNvSpPr>
          <p:nvPr>
            <p:ph type="chart" sz="quarter" idx="56"/>
          </p:nvPr>
        </p:nvSpPr>
        <p:spPr>
          <a:xfrm>
            <a:off x="508000" y="2120382"/>
            <a:ext cx="5468938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/>
              <a:t>Click icon to add chart</a:t>
            </a:r>
            <a:endParaRPr lang="en-GB" dirty="0"/>
          </a:p>
        </p:txBody>
      </p:sp>
      <p:cxnSp>
        <p:nvCxnSpPr>
          <p:cNvPr id="103" name="Straight Connector 102"/>
          <p:cNvCxnSpPr/>
          <p:nvPr userDrawn="1"/>
        </p:nvCxnSpPr>
        <p:spPr>
          <a:xfrm flipV="1">
            <a:off x="508000" y="3732357"/>
            <a:ext cx="5468938" cy="188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Content Placeholder 51"/>
          <p:cNvSpPr>
            <a:spLocks noGrp="1"/>
          </p:cNvSpPr>
          <p:nvPr>
            <p:ph sz="quarter" idx="57" hasCustomPrompt="1"/>
          </p:nvPr>
        </p:nvSpPr>
        <p:spPr>
          <a:xfrm>
            <a:off x="6215063" y="4199574"/>
            <a:ext cx="5464175" cy="234616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105" name="Content Placeholder 51"/>
          <p:cNvSpPr>
            <a:spLocks noGrp="1"/>
          </p:cNvSpPr>
          <p:nvPr>
            <p:ph sz="quarter" idx="58" hasCustomPrompt="1"/>
          </p:nvPr>
        </p:nvSpPr>
        <p:spPr>
          <a:xfrm>
            <a:off x="6215063" y="3864611"/>
            <a:ext cx="5464175" cy="268150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ShellBold" panose="00000800000000000000" pitchFamily="50" charset="0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106" name="Straight Connector 105"/>
          <p:cNvCxnSpPr/>
          <p:nvPr userDrawn="1"/>
        </p:nvCxnSpPr>
        <p:spPr>
          <a:xfrm>
            <a:off x="6215063" y="4141387"/>
            <a:ext cx="5464175" cy="914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Chart Placeholder 16"/>
          <p:cNvSpPr>
            <a:spLocks noGrp="1"/>
          </p:cNvSpPr>
          <p:nvPr>
            <p:ph type="chart" sz="quarter" idx="59"/>
          </p:nvPr>
        </p:nvSpPr>
        <p:spPr>
          <a:xfrm>
            <a:off x="6215063" y="4456229"/>
            <a:ext cx="5464175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/>
              <a:t>Click icon to add chart</a:t>
            </a:r>
            <a:endParaRPr lang="en-GB" dirty="0"/>
          </a:p>
        </p:txBody>
      </p:sp>
      <p:cxnSp>
        <p:nvCxnSpPr>
          <p:cNvPr id="108" name="Straight Connector 107"/>
          <p:cNvCxnSpPr/>
          <p:nvPr userDrawn="1"/>
        </p:nvCxnSpPr>
        <p:spPr>
          <a:xfrm flipV="1">
            <a:off x="6215063" y="5966657"/>
            <a:ext cx="5464175" cy="1829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Content Placeholder 51"/>
          <p:cNvSpPr>
            <a:spLocks noGrp="1"/>
          </p:cNvSpPr>
          <p:nvPr>
            <p:ph sz="quarter" idx="60" hasCustomPrompt="1"/>
          </p:nvPr>
        </p:nvSpPr>
        <p:spPr>
          <a:xfrm>
            <a:off x="6215063" y="1863726"/>
            <a:ext cx="5464175" cy="234616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110" name="Content Placeholder 51"/>
          <p:cNvSpPr>
            <a:spLocks noGrp="1"/>
          </p:cNvSpPr>
          <p:nvPr>
            <p:ph sz="quarter" idx="61" hasCustomPrompt="1"/>
          </p:nvPr>
        </p:nvSpPr>
        <p:spPr>
          <a:xfrm>
            <a:off x="6215063" y="1528763"/>
            <a:ext cx="5464175" cy="268150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ShellBold" panose="00000800000000000000" pitchFamily="50" charset="0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111" name="Straight Connector 110"/>
          <p:cNvCxnSpPr/>
          <p:nvPr userDrawn="1"/>
        </p:nvCxnSpPr>
        <p:spPr>
          <a:xfrm>
            <a:off x="6215063" y="1805539"/>
            <a:ext cx="5464175" cy="914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Chart Placeholder 16"/>
          <p:cNvSpPr>
            <a:spLocks noGrp="1"/>
          </p:cNvSpPr>
          <p:nvPr>
            <p:ph type="chart" sz="quarter" idx="62"/>
          </p:nvPr>
        </p:nvSpPr>
        <p:spPr>
          <a:xfrm>
            <a:off x="6215063" y="2120382"/>
            <a:ext cx="5464175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/>
              <a:t>Click icon to add chart</a:t>
            </a:r>
            <a:endParaRPr lang="en-GB" dirty="0"/>
          </a:p>
        </p:txBody>
      </p:sp>
      <p:cxnSp>
        <p:nvCxnSpPr>
          <p:cNvPr id="113" name="Straight Connector 112"/>
          <p:cNvCxnSpPr/>
          <p:nvPr userDrawn="1"/>
        </p:nvCxnSpPr>
        <p:spPr>
          <a:xfrm>
            <a:off x="6089108" y="3730543"/>
            <a:ext cx="5265195" cy="2448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November 2022</a:t>
            </a:r>
          </a:p>
        </p:txBody>
      </p:sp>
      <p:sp>
        <p:nvSpPr>
          <p:cNvPr id="3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3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28" name="TextBox 27" descr="CONFIDENTIAL_TAG_0xFFEE">
            <a:extLst>
              <a:ext uri="{FF2B5EF4-FFF2-40B4-BE49-F238E27FC236}">
                <a16:creationId xmlns:a16="http://schemas.microsoft.com/office/drawing/2014/main" id="{9CB4CEB4-4871-4035-9190-19DE52648518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RESTRICTED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13915511"/>
      </p:ext>
    </p:extLst>
  </p:cSld>
  <p:clrMapOvr>
    <a:masterClrMapping/>
  </p:clrMapOvr>
  <p:transition/>
  <p:hf hdr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 userDrawn="1"/>
        </p:nvSpPr>
        <p:spPr bwMode="gray">
          <a:xfrm>
            <a:off x="1" y="4313784"/>
            <a:ext cx="12192000" cy="25442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7" name="Rectangle 26" descr="&lt;Shell Yellow Bar&gt;" title="&lt;Shell Yellow Bar&gt;"/>
          <p:cNvSpPr/>
          <p:nvPr userDrawn="1"/>
        </p:nvSpPr>
        <p:spPr bwMode="gray">
          <a:xfrm>
            <a:off x="761993" y="1524000"/>
            <a:ext cx="1269984" cy="75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763200" y="2636980"/>
            <a:ext cx="6397451" cy="136207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400" b="0" cap="none" baseline="0">
                <a:solidFill>
                  <a:schemeClr val="tx1"/>
                </a:solidFill>
                <a:latin typeface="ShellBold" panose="00000800000000000000" pitchFamily="50" charset="0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25" name="Text Placeholder 2"/>
          <p:cNvSpPr>
            <a:spLocks noGrp="1"/>
          </p:cNvSpPr>
          <p:nvPr>
            <p:ph type="body" idx="1"/>
          </p:nvPr>
        </p:nvSpPr>
        <p:spPr>
          <a:xfrm>
            <a:off x="763200" y="1696947"/>
            <a:ext cx="6397451" cy="82123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800" b="0" cap="none" baseline="0">
                <a:solidFill>
                  <a:schemeClr val="tx1"/>
                </a:solidFill>
                <a:latin typeface="ShellBold" panose="00000800000000000000" pitchFamily="50" charset="0"/>
              </a:defRPr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7402833" y="1924112"/>
            <a:ext cx="4274842" cy="2930523"/>
          </a:xfrm>
          <a:prstGeom prst="rect">
            <a:avLst/>
          </a:prstGeom>
        </p:spPr>
        <p:txBody>
          <a:bodyPr lIns="0" tIns="0" rIns="0" bIns="0"/>
          <a:lstStyle>
            <a:lvl1pPr marL="0" algn="r" defTabSz="1219170" rtl="0" eaLnBrk="1" latinLnBrk="0" hangingPunct="1">
              <a:lnSpc>
                <a:spcPct val="100000"/>
              </a:lnSpc>
              <a:buClr>
                <a:srgbClr val="DD1D21"/>
              </a:buClr>
              <a:buSzPct val="85000"/>
              <a:buNone/>
              <a:tabLst>
                <a:tab pos="1081088" algn="l"/>
              </a:tabLst>
              <a:defRPr lang="en-GB" sz="20000" kern="10000" spc="-1000" baseline="0" dirty="0">
                <a:ln w="3175">
                  <a:noFill/>
                </a:ln>
                <a:solidFill>
                  <a:schemeClr val="accent1"/>
                </a:solidFill>
                <a:latin typeface="ShellBold" panose="00000800000000000000" pitchFamily="50" charset="0"/>
                <a:ea typeface="ShellMedium" panose="00000600000000000000" pitchFamily="50" charset="0"/>
                <a:cs typeface="ShellBold" panose="00000800000000000000" pitchFamily="50" charset="0"/>
              </a:defRPr>
            </a:lvl1pPr>
          </a:lstStyle>
          <a:p>
            <a:pPr lvl="0"/>
            <a:r>
              <a:rPr lang="en-GB" dirty="0"/>
              <a:t>0.0</a:t>
            </a:r>
          </a:p>
        </p:txBody>
      </p:sp>
      <p:sp>
        <p:nvSpPr>
          <p:cNvPr id="15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+mn-lt"/>
                <a:cs typeface="Arial" pitchFamily="34" charset="0"/>
              </a:rPr>
              <a:t>Copyright of SPDC JV</a:t>
            </a:r>
          </a:p>
        </p:txBody>
      </p:sp>
      <p:sp>
        <p:nvSpPr>
          <p:cNvPr id="2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2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67454915"/>
      </p:ext>
    </p:extLst>
  </p:cSld>
  <p:clrMapOvr>
    <a:masterClrMapping/>
  </p:clrMapOvr>
  <p:transition/>
  <p:hf hdr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 bwMode="gray">
          <a:xfrm>
            <a:off x="761993" y="3556002"/>
            <a:ext cx="6858000" cy="2540001"/>
            <a:chOff x="761993" y="3556002"/>
            <a:chExt cx="6858000" cy="2540001"/>
          </a:xfrm>
        </p:grpSpPr>
        <p:sp>
          <p:nvSpPr>
            <p:cNvPr id="16" name="Rectangle 15"/>
            <p:cNvSpPr/>
            <p:nvPr userDrawn="1"/>
          </p:nvSpPr>
          <p:spPr bwMode="gray">
            <a:xfrm>
              <a:off x="761993" y="3556002"/>
              <a:ext cx="6858000" cy="2540001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8" name="Rectangle 27" descr="&lt;Shell Yellow Bar&gt;" title="&lt;Shell Yellow Bar&gt;"/>
            <p:cNvSpPr/>
            <p:nvPr userDrawn="1"/>
          </p:nvSpPr>
          <p:spPr bwMode="gray">
            <a:xfrm>
              <a:off x="1145875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</p:grpSp>
      <p:sp>
        <p:nvSpPr>
          <p:cNvPr id="32" name="Rectangle 31"/>
          <p:cNvSpPr/>
          <p:nvPr userDrawn="1"/>
        </p:nvSpPr>
        <p:spPr bwMode="white">
          <a:xfrm>
            <a:off x="501606" y="488935"/>
            <a:ext cx="1311092" cy="11880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2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0" y="1"/>
            <a:ext cx="12194723" cy="4866892"/>
          </a:xfrm>
          <a:custGeom>
            <a:avLst/>
            <a:gdLst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0 w 12192000"/>
              <a:gd name="connsiteY3" fmla="*/ 4854636 h 4854636"/>
              <a:gd name="connsiteX4" fmla="*/ 0 w 12192000"/>
              <a:gd name="connsiteY4" fmla="*/ 0 h 4854636"/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592282 w 12192000"/>
              <a:gd name="connsiteY3" fmla="*/ 4842164 h 4854636"/>
              <a:gd name="connsiteX4" fmla="*/ 0 w 12192000"/>
              <a:gd name="connsiteY4" fmla="*/ 4854636 h 4854636"/>
              <a:gd name="connsiteX5" fmla="*/ 0 w 12192000"/>
              <a:gd name="connsiteY5" fmla="*/ 0 h 485463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592282 w 12192000"/>
              <a:gd name="connsiteY3" fmla="*/ 4842164 h 4888026"/>
              <a:gd name="connsiteX4" fmla="*/ 0 w 12192000"/>
              <a:gd name="connsiteY4" fmla="*/ 4854636 h 4888026"/>
              <a:gd name="connsiteX5" fmla="*/ 0 w 12192000"/>
              <a:gd name="connsiteY5" fmla="*/ 0 h 488802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841664 w 12192000"/>
              <a:gd name="connsiteY3" fmla="*/ 2909455 h 4888026"/>
              <a:gd name="connsiteX4" fmla="*/ 592282 w 12192000"/>
              <a:gd name="connsiteY4" fmla="*/ 4842164 h 4888026"/>
              <a:gd name="connsiteX5" fmla="*/ 0 w 12192000"/>
              <a:gd name="connsiteY5" fmla="*/ 4854636 h 4888026"/>
              <a:gd name="connsiteX6" fmla="*/ 0 w 12192000"/>
              <a:gd name="connsiteY6" fmla="*/ 0 h 4888026"/>
              <a:gd name="connsiteX0" fmla="*/ 0 w 12192000"/>
              <a:gd name="connsiteY0" fmla="*/ 0 h 4982265"/>
              <a:gd name="connsiteX1" fmla="*/ 12192000 w 12192000"/>
              <a:gd name="connsiteY1" fmla="*/ 0 h 4982265"/>
              <a:gd name="connsiteX2" fmla="*/ 12192000 w 12192000"/>
              <a:gd name="connsiteY2" fmla="*/ 4854636 h 4982265"/>
              <a:gd name="connsiteX3" fmla="*/ 7606145 w 12192000"/>
              <a:gd name="connsiteY3" fmla="*/ 3543300 h 4982265"/>
              <a:gd name="connsiteX4" fmla="*/ 841664 w 12192000"/>
              <a:gd name="connsiteY4" fmla="*/ 2909455 h 4982265"/>
              <a:gd name="connsiteX5" fmla="*/ 592282 w 12192000"/>
              <a:gd name="connsiteY5" fmla="*/ 4842164 h 4982265"/>
              <a:gd name="connsiteX6" fmla="*/ 0 w 12192000"/>
              <a:gd name="connsiteY6" fmla="*/ 4854636 h 4982265"/>
              <a:gd name="connsiteX7" fmla="*/ 0 w 12192000"/>
              <a:gd name="connsiteY7" fmla="*/ 0 h 4982265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592282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61702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6071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48146 w 12192000"/>
              <a:gd name="connsiteY5" fmla="*/ 3564082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7795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872233 w 12194382"/>
              <a:gd name="connsiteY6" fmla="*/ 4872048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45920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82443"/>
              <a:gd name="connsiteX1" fmla="*/ 12194382 w 12194382"/>
              <a:gd name="connsiteY1" fmla="*/ 0 h 5182443"/>
              <a:gd name="connsiteX2" fmla="*/ 12194382 w 12194382"/>
              <a:gd name="connsiteY2" fmla="*/ 4854636 h 5182443"/>
              <a:gd name="connsiteX3" fmla="*/ 7623248 w 12194382"/>
              <a:gd name="connsiteY3" fmla="*/ 4843680 h 5182443"/>
              <a:gd name="connsiteX4" fmla="*/ 7620433 w 12194382"/>
              <a:gd name="connsiteY4" fmla="*/ 3543300 h 5182443"/>
              <a:gd name="connsiteX5" fmla="*/ 762115 w 12194382"/>
              <a:gd name="connsiteY5" fmla="*/ 3547023 h 5182443"/>
              <a:gd name="connsiteX6" fmla="*/ 762695 w 12194382"/>
              <a:gd name="connsiteY6" fmla="*/ 4850671 h 5182443"/>
              <a:gd name="connsiteX7" fmla="*/ 0 w 12194382"/>
              <a:gd name="connsiteY7" fmla="*/ 4847509 h 5182443"/>
              <a:gd name="connsiteX8" fmla="*/ 2382 w 12194382"/>
              <a:gd name="connsiteY8" fmla="*/ 0 h 5182443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723"/>
              <a:gd name="connsiteY0" fmla="*/ 0 h 4854829"/>
              <a:gd name="connsiteX1" fmla="*/ 12194382 w 12194723"/>
              <a:gd name="connsiteY1" fmla="*/ 0 h 4854829"/>
              <a:gd name="connsiteX2" fmla="*/ 12194382 w 12194723"/>
              <a:gd name="connsiteY2" fmla="*/ 4854636 h 4854829"/>
              <a:gd name="connsiteX3" fmla="*/ 7623248 w 12194723"/>
              <a:gd name="connsiteY3" fmla="*/ 4843680 h 4854829"/>
              <a:gd name="connsiteX4" fmla="*/ 7620433 w 12194723"/>
              <a:gd name="connsiteY4" fmla="*/ 3543300 h 4854829"/>
              <a:gd name="connsiteX5" fmla="*/ 762115 w 12194723"/>
              <a:gd name="connsiteY5" fmla="*/ 3547023 h 4854829"/>
              <a:gd name="connsiteX6" fmla="*/ 762695 w 12194723"/>
              <a:gd name="connsiteY6" fmla="*/ 4850671 h 4854829"/>
              <a:gd name="connsiteX7" fmla="*/ 0 w 12194723"/>
              <a:gd name="connsiteY7" fmla="*/ 4847509 h 4854829"/>
              <a:gd name="connsiteX8" fmla="*/ 2382 w 12194723"/>
              <a:gd name="connsiteY8" fmla="*/ 0 h 4854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4723" h="4854829">
                <a:moveTo>
                  <a:pt x="2382" y="0"/>
                </a:moveTo>
                <a:lnTo>
                  <a:pt x="12194382" y="0"/>
                </a:lnTo>
                <a:cubicBezTo>
                  <a:pt x="12194382" y="1618212"/>
                  <a:pt x="12195150" y="4852730"/>
                  <a:pt x="12194382" y="4854636"/>
                </a:cubicBezTo>
                <a:cubicBezTo>
                  <a:pt x="12193614" y="4856542"/>
                  <a:pt x="7623176" y="4843704"/>
                  <a:pt x="7623248" y="4843680"/>
                </a:cubicBezTo>
                <a:cubicBezTo>
                  <a:pt x="7623320" y="4843656"/>
                  <a:pt x="7618248" y="3540554"/>
                  <a:pt x="7620433" y="3543300"/>
                </a:cubicBezTo>
                <a:cubicBezTo>
                  <a:pt x="7622618" y="3546046"/>
                  <a:pt x="3048221" y="3545782"/>
                  <a:pt x="762115" y="3547023"/>
                </a:cubicBezTo>
                <a:cubicBezTo>
                  <a:pt x="760398" y="3777370"/>
                  <a:pt x="763508" y="4852455"/>
                  <a:pt x="762695" y="4850671"/>
                </a:cubicBezTo>
                <a:cubicBezTo>
                  <a:pt x="761882" y="4848887"/>
                  <a:pt x="254232" y="4848563"/>
                  <a:pt x="0" y="4847509"/>
                </a:cubicBezTo>
                <a:lnTo>
                  <a:pt x="2382" y="0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17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145875" y="4028766"/>
            <a:ext cx="6177756" cy="865472"/>
          </a:xfrm>
          <a:noFill/>
        </p:spPr>
        <p:txBody>
          <a:bodyPr lIns="0" tIns="0" rIns="0"/>
          <a:lstStyle>
            <a:lvl1pPr>
              <a:defRPr sz="2400" kern="1200" cap="none" spc="0" baseline="0">
                <a:solidFill>
                  <a:schemeClr val="tx1"/>
                </a:solidFill>
                <a:latin typeface="ShellBold" panose="00000800000000000000" pitchFamily="50" charset="0"/>
                <a:cs typeface="Arial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1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145875" y="5092242"/>
            <a:ext cx="6177756" cy="7706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lang="en-GB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1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November 2022</a:t>
            </a:r>
          </a:p>
        </p:txBody>
      </p:sp>
      <p:sp>
        <p:nvSpPr>
          <p:cNvPr id="14" name="TextBox 13" descr="CONFIDENTIAL_TAG_0xFFEE">
            <a:extLst>
              <a:ext uri="{FF2B5EF4-FFF2-40B4-BE49-F238E27FC236}">
                <a16:creationId xmlns:a16="http://schemas.microsoft.com/office/drawing/2014/main" id="{A561BE9E-AC4E-4A87-9143-D815800D2022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RESTRICTED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91882073"/>
      </p:ext>
    </p:extLst>
  </p:cSld>
  <p:clrMapOvr>
    <a:masterClrMapping/>
  </p:clrMapOvr>
  <p:transition/>
  <p:hf hdr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lang="en-US" sz="2400" b="0" kern="1200" cap="none" baseline="0" noProof="0" dirty="0" smtClean="0">
                <a:solidFill>
                  <a:schemeClr val="tx1"/>
                </a:solidFill>
                <a:latin typeface="ShellBold" panose="00000800000000000000" pitchFamily="50" charset="0"/>
                <a:ea typeface="+mj-ea"/>
                <a:cs typeface="+mj-cs"/>
              </a:defRPr>
            </a:lvl1pPr>
          </a:lstStyle>
          <a:p>
            <a:pPr lvl="0" algn="l" defTabSz="1219170" rtl="0" eaLnBrk="1" latinLnBrk="0" hangingPunct="1">
              <a:lnSpc>
                <a:spcPct val="95000"/>
              </a:lnSpc>
              <a:spcBef>
                <a:spcPct val="0"/>
              </a:spcBef>
              <a:buNone/>
            </a:pPr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14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7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November 2022</a:t>
            </a:r>
          </a:p>
        </p:txBody>
      </p:sp>
      <p:sp>
        <p:nvSpPr>
          <p:cNvPr id="8" name="TextBox 7" descr="CONFIDENTIAL_TAG_0xFFEE">
            <a:extLst>
              <a:ext uri="{FF2B5EF4-FFF2-40B4-BE49-F238E27FC236}">
                <a16:creationId xmlns:a16="http://schemas.microsoft.com/office/drawing/2014/main" id="{9BDD4F97-2F75-46E9-BD3F-9477BBF4B70B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RESTRICTED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7271738"/>
      </p:ext>
    </p:extLst>
  </p:cSld>
  <p:clrMapOvr>
    <a:masterClrMapping/>
  </p:clrMapOvr>
  <p:transition/>
  <p:hf hdr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-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 descr="&lt;ignore&gt;"/>
          <p:cNvSpPr>
            <a:spLocks noGrp="1"/>
          </p:cNvSpPr>
          <p:nvPr>
            <p:ph type="pic" sz="quarter" idx="12"/>
          </p:nvPr>
        </p:nvSpPr>
        <p:spPr bwMode="auto">
          <a:xfrm>
            <a:off x="0" y="0"/>
            <a:ext cx="12194382" cy="6858000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November 2022</a:t>
            </a:r>
          </a:p>
        </p:txBody>
      </p:sp>
      <p:sp>
        <p:nvSpPr>
          <p:cNvPr id="14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1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3" name="Text Placeholder 2" descr="&lt;IGNORE&gt;" title="&lt;IGNORE&gt;"/>
          <p:cNvSpPr>
            <a:spLocks noGrp="1"/>
          </p:cNvSpPr>
          <p:nvPr>
            <p:ph type="body" sz="quarter" idx="13"/>
          </p:nvPr>
        </p:nvSpPr>
        <p:spPr>
          <a:xfrm>
            <a:off x="513179" y="1438480"/>
            <a:ext cx="11166561" cy="2861742"/>
          </a:xfrm>
        </p:spPr>
        <p:txBody>
          <a:bodyPr/>
          <a:lstStyle>
            <a:lvl1pPr>
              <a:lnSpc>
                <a:spcPct val="110000"/>
              </a:lnSpc>
              <a:defRPr lang="en-US" sz="3400" b="0" kern="1200" dirty="0" smtClean="0">
                <a:solidFill>
                  <a:schemeClr val="tx1"/>
                </a:solidFill>
                <a:latin typeface="ShellBold" panose="00000800000000000000" pitchFamily="50" charset="0"/>
                <a:ea typeface="+mn-ea"/>
                <a:cs typeface="+mn-cs"/>
              </a:defRPr>
            </a:lvl1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9" name="TextBox 8" descr="CONFIDENTIAL_TAG_0xFFEE">
            <a:extLst>
              <a:ext uri="{FF2B5EF4-FFF2-40B4-BE49-F238E27FC236}">
                <a16:creationId xmlns:a16="http://schemas.microsoft.com/office/drawing/2014/main" id="{33CC0EB5-7625-4463-8F09-FDF0F0AA17DA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RESTRICTED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25891225"/>
      </p:ext>
    </p:extLst>
  </p:cSld>
  <p:clrMapOvr>
    <a:masterClrMapping/>
  </p:clrMapOvr>
  <p:transition/>
  <p:hf hdr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&amp;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 userDrawn="1"/>
        </p:nvSpPr>
        <p:spPr bwMode="gray">
          <a:xfrm>
            <a:off x="1" y="4313784"/>
            <a:ext cx="12192000" cy="25442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3" name="Rectangle 22" descr="&lt;Shell Yellow Bar&gt;" title="&lt;Shell Yellow Bar&gt;"/>
          <p:cNvSpPr/>
          <p:nvPr userDrawn="1"/>
        </p:nvSpPr>
        <p:spPr bwMode="gray">
          <a:xfrm>
            <a:off x="761993" y="1524000"/>
            <a:ext cx="1269984" cy="75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4" name="Title 1"/>
          <p:cNvSpPr>
            <a:spLocks noGrp="1"/>
          </p:cNvSpPr>
          <p:nvPr>
            <p:ph type="title"/>
          </p:nvPr>
        </p:nvSpPr>
        <p:spPr>
          <a:xfrm>
            <a:off x="763200" y="2636980"/>
            <a:ext cx="5187472" cy="136207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400" b="0" cap="none" baseline="0">
                <a:solidFill>
                  <a:schemeClr val="tx1"/>
                </a:solidFill>
                <a:latin typeface="ShellBold" panose="00000800000000000000" pitchFamily="50" charset="0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25" name="Text Placeholder 2"/>
          <p:cNvSpPr>
            <a:spLocks noGrp="1"/>
          </p:cNvSpPr>
          <p:nvPr>
            <p:ph type="body" idx="1"/>
          </p:nvPr>
        </p:nvSpPr>
        <p:spPr>
          <a:xfrm>
            <a:off x="763200" y="1696947"/>
            <a:ext cx="6375761" cy="82123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800" b="0" cap="none" baseline="0">
                <a:solidFill>
                  <a:schemeClr val="tx1"/>
                </a:solidFill>
                <a:latin typeface="ShellBold" panose="00000800000000000000" pitchFamily="50" charset="0"/>
              </a:defRPr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2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November 2022</a:t>
            </a:r>
          </a:p>
        </p:txBody>
      </p:sp>
      <p:sp>
        <p:nvSpPr>
          <p:cNvPr id="27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 B.V.</a:t>
            </a:r>
          </a:p>
        </p:txBody>
      </p:sp>
      <p:sp>
        <p:nvSpPr>
          <p:cNvPr id="2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grpSp>
        <p:nvGrpSpPr>
          <p:cNvPr id="31" name="Group 30"/>
          <p:cNvGrpSpPr/>
          <p:nvPr userDrawn="1"/>
        </p:nvGrpSpPr>
        <p:grpSpPr bwMode="gray">
          <a:xfrm>
            <a:off x="6450013" y="2557463"/>
            <a:ext cx="5197475" cy="1917700"/>
            <a:chOff x="6450013" y="2557463"/>
            <a:chExt cx="5197475" cy="1917700"/>
          </a:xfrm>
        </p:grpSpPr>
        <p:sp>
          <p:nvSpPr>
            <p:cNvPr id="32" name="Freeform 6"/>
            <p:cNvSpPr>
              <a:spLocks noEditPoints="1"/>
            </p:cNvSpPr>
            <p:nvPr userDrawn="1"/>
          </p:nvSpPr>
          <p:spPr bwMode="gray">
            <a:xfrm>
              <a:off x="6450013" y="2557463"/>
              <a:ext cx="2005013" cy="1917700"/>
            </a:xfrm>
            <a:custGeom>
              <a:avLst/>
              <a:gdLst>
                <a:gd name="T0" fmla="*/ 274 w 346"/>
                <a:gd name="T1" fmla="*/ 331 h 331"/>
                <a:gd name="T2" fmla="*/ 250 w 346"/>
                <a:gd name="T3" fmla="*/ 302 h 331"/>
                <a:gd name="T4" fmla="*/ 167 w 346"/>
                <a:gd name="T5" fmla="*/ 322 h 331"/>
                <a:gd name="T6" fmla="*/ 0 w 346"/>
                <a:gd name="T7" fmla="*/ 156 h 331"/>
                <a:gd name="T8" fmla="*/ 167 w 346"/>
                <a:gd name="T9" fmla="*/ 0 h 331"/>
                <a:gd name="T10" fmla="*/ 334 w 346"/>
                <a:gd name="T11" fmla="*/ 162 h 331"/>
                <a:gd name="T12" fmla="*/ 295 w 346"/>
                <a:gd name="T13" fmla="*/ 268 h 331"/>
                <a:gd name="T14" fmla="*/ 346 w 346"/>
                <a:gd name="T15" fmla="*/ 320 h 331"/>
                <a:gd name="T16" fmla="*/ 274 w 346"/>
                <a:gd name="T17" fmla="*/ 331 h 331"/>
                <a:gd name="T18" fmla="*/ 238 w 346"/>
                <a:gd name="T19" fmla="*/ 207 h 331"/>
                <a:gd name="T20" fmla="*/ 252 w 346"/>
                <a:gd name="T21" fmla="*/ 162 h 331"/>
                <a:gd name="T22" fmla="*/ 167 w 346"/>
                <a:gd name="T23" fmla="*/ 76 h 331"/>
                <a:gd name="T24" fmla="*/ 82 w 346"/>
                <a:gd name="T25" fmla="*/ 156 h 331"/>
                <a:gd name="T26" fmla="*/ 167 w 346"/>
                <a:gd name="T27" fmla="*/ 246 h 331"/>
                <a:gd name="T28" fmla="*/ 191 w 346"/>
                <a:gd name="T29" fmla="*/ 242 h 331"/>
                <a:gd name="T30" fmla="*/ 143 w 346"/>
                <a:gd name="T31" fmla="*/ 194 h 331"/>
                <a:gd name="T32" fmla="*/ 217 w 346"/>
                <a:gd name="T33" fmla="*/ 185 h 331"/>
                <a:gd name="T34" fmla="*/ 238 w 346"/>
                <a:gd name="T35" fmla="*/ 207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46" h="331">
                  <a:moveTo>
                    <a:pt x="274" y="331"/>
                  </a:moveTo>
                  <a:cubicBezTo>
                    <a:pt x="250" y="302"/>
                    <a:pt x="250" y="302"/>
                    <a:pt x="250" y="302"/>
                  </a:cubicBezTo>
                  <a:cubicBezTo>
                    <a:pt x="227" y="316"/>
                    <a:pt x="199" y="322"/>
                    <a:pt x="167" y="322"/>
                  </a:cubicBezTo>
                  <a:cubicBezTo>
                    <a:pt x="70" y="322"/>
                    <a:pt x="0" y="253"/>
                    <a:pt x="0" y="156"/>
                  </a:cubicBezTo>
                  <a:cubicBezTo>
                    <a:pt x="0" y="64"/>
                    <a:pt x="80" y="0"/>
                    <a:pt x="167" y="0"/>
                  </a:cubicBezTo>
                  <a:cubicBezTo>
                    <a:pt x="261" y="0"/>
                    <a:pt x="334" y="64"/>
                    <a:pt x="334" y="162"/>
                  </a:cubicBezTo>
                  <a:cubicBezTo>
                    <a:pt x="334" y="202"/>
                    <a:pt x="320" y="237"/>
                    <a:pt x="295" y="268"/>
                  </a:cubicBezTo>
                  <a:cubicBezTo>
                    <a:pt x="346" y="320"/>
                    <a:pt x="346" y="320"/>
                    <a:pt x="346" y="320"/>
                  </a:cubicBezTo>
                  <a:lnTo>
                    <a:pt x="274" y="331"/>
                  </a:lnTo>
                  <a:close/>
                  <a:moveTo>
                    <a:pt x="238" y="207"/>
                  </a:moveTo>
                  <a:cubicBezTo>
                    <a:pt x="247" y="194"/>
                    <a:pt x="252" y="178"/>
                    <a:pt x="252" y="162"/>
                  </a:cubicBezTo>
                  <a:cubicBezTo>
                    <a:pt x="252" y="117"/>
                    <a:pt x="215" y="76"/>
                    <a:pt x="167" y="76"/>
                  </a:cubicBezTo>
                  <a:cubicBezTo>
                    <a:pt x="121" y="76"/>
                    <a:pt x="82" y="114"/>
                    <a:pt x="82" y="156"/>
                  </a:cubicBezTo>
                  <a:cubicBezTo>
                    <a:pt x="82" y="208"/>
                    <a:pt x="121" y="246"/>
                    <a:pt x="167" y="246"/>
                  </a:cubicBezTo>
                  <a:cubicBezTo>
                    <a:pt x="175" y="246"/>
                    <a:pt x="183" y="245"/>
                    <a:pt x="191" y="242"/>
                  </a:cubicBezTo>
                  <a:cubicBezTo>
                    <a:pt x="143" y="194"/>
                    <a:pt x="143" y="194"/>
                    <a:pt x="143" y="194"/>
                  </a:cubicBezTo>
                  <a:cubicBezTo>
                    <a:pt x="217" y="185"/>
                    <a:pt x="217" y="185"/>
                    <a:pt x="217" y="185"/>
                  </a:cubicBezTo>
                  <a:lnTo>
                    <a:pt x="238" y="20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3" name="Freeform 7"/>
            <p:cNvSpPr>
              <a:spLocks noEditPoints="1"/>
            </p:cNvSpPr>
            <p:nvPr userDrawn="1"/>
          </p:nvSpPr>
          <p:spPr bwMode="gray">
            <a:xfrm>
              <a:off x="8426451" y="2586038"/>
              <a:ext cx="1441450" cy="1814513"/>
            </a:xfrm>
            <a:custGeom>
              <a:avLst/>
              <a:gdLst>
                <a:gd name="T0" fmla="*/ 190 w 249"/>
                <a:gd name="T1" fmla="*/ 257 h 313"/>
                <a:gd name="T2" fmla="*/ 79 w 249"/>
                <a:gd name="T3" fmla="*/ 313 h 313"/>
                <a:gd name="T4" fmla="*/ 0 w 249"/>
                <a:gd name="T5" fmla="*/ 233 h 313"/>
                <a:gd name="T6" fmla="*/ 92 w 249"/>
                <a:gd name="T7" fmla="*/ 124 h 313"/>
                <a:gd name="T8" fmla="*/ 60 w 249"/>
                <a:gd name="T9" fmla="*/ 58 h 313"/>
                <a:gd name="T10" fmla="*/ 119 w 249"/>
                <a:gd name="T11" fmla="*/ 0 h 313"/>
                <a:gd name="T12" fmla="*/ 174 w 249"/>
                <a:gd name="T13" fmla="*/ 56 h 313"/>
                <a:gd name="T14" fmla="*/ 117 w 249"/>
                <a:gd name="T15" fmla="*/ 130 h 313"/>
                <a:gd name="T16" fmla="*/ 192 w 249"/>
                <a:gd name="T17" fmla="*/ 232 h 313"/>
                <a:gd name="T18" fmla="*/ 230 w 249"/>
                <a:gd name="T19" fmla="*/ 190 h 313"/>
                <a:gd name="T20" fmla="*/ 245 w 249"/>
                <a:gd name="T21" fmla="*/ 198 h 313"/>
                <a:gd name="T22" fmla="*/ 203 w 249"/>
                <a:gd name="T23" fmla="*/ 246 h 313"/>
                <a:gd name="T24" fmla="*/ 249 w 249"/>
                <a:gd name="T25" fmla="*/ 307 h 313"/>
                <a:gd name="T26" fmla="*/ 228 w 249"/>
                <a:gd name="T27" fmla="*/ 307 h 313"/>
                <a:gd name="T28" fmla="*/ 190 w 249"/>
                <a:gd name="T29" fmla="*/ 257 h 313"/>
                <a:gd name="T30" fmla="*/ 84 w 249"/>
                <a:gd name="T31" fmla="*/ 152 h 313"/>
                <a:gd name="T32" fmla="*/ 19 w 249"/>
                <a:gd name="T33" fmla="*/ 231 h 313"/>
                <a:gd name="T34" fmla="*/ 79 w 249"/>
                <a:gd name="T35" fmla="*/ 295 h 313"/>
                <a:gd name="T36" fmla="*/ 179 w 249"/>
                <a:gd name="T37" fmla="*/ 242 h 313"/>
                <a:gd name="T38" fmla="*/ 103 w 249"/>
                <a:gd name="T39" fmla="*/ 139 h 313"/>
                <a:gd name="T40" fmla="*/ 84 w 249"/>
                <a:gd name="T41" fmla="*/ 152 h 313"/>
                <a:gd name="T42" fmla="*/ 79 w 249"/>
                <a:gd name="T43" fmla="*/ 60 h 313"/>
                <a:gd name="T44" fmla="*/ 106 w 249"/>
                <a:gd name="T45" fmla="*/ 115 h 313"/>
                <a:gd name="T46" fmla="*/ 154 w 249"/>
                <a:gd name="T47" fmla="*/ 55 h 313"/>
                <a:gd name="T48" fmla="*/ 118 w 249"/>
                <a:gd name="T49" fmla="*/ 18 h 313"/>
                <a:gd name="T50" fmla="*/ 79 w 249"/>
                <a:gd name="T51" fmla="*/ 60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49" h="313">
                  <a:moveTo>
                    <a:pt x="190" y="257"/>
                  </a:moveTo>
                  <a:cubicBezTo>
                    <a:pt x="156" y="285"/>
                    <a:pt x="118" y="313"/>
                    <a:pt x="79" y="313"/>
                  </a:cubicBezTo>
                  <a:cubicBezTo>
                    <a:pt x="34" y="313"/>
                    <a:pt x="0" y="277"/>
                    <a:pt x="0" y="233"/>
                  </a:cubicBezTo>
                  <a:cubicBezTo>
                    <a:pt x="0" y="181"/>
                    <a:pt x="50" y="150"/>
                    <a:pt x="92" y="124"/>
                  </a:cubicBezTo>
                  <a:cubicBezTo>
                    <a:pt x="78" y="104"/>
                    <a:pt x="60" y="84"/>
                    <a:pt x="60" y="58"/>
                  </a:cubicBezTo>
                  <a:cubicBezTo>
                    <a:pt x="60" y="26"/>
                    <a:pt x="87" y="0"/>
                    <a:pt x="119" y="0"/>
                  </a:cubicBezTo>
                  <a:cubicBezTo>
                    <a:pt x="150" y="0"/>
                    <a:pt x="174" y="25"/>
                    <a:pt x="174" y="56"/>
                  </a:cubicBezTo>
                  <a:cubicBezTo>
                    <a:pt x="174" y="90"/>
                    <a:pt x="146" y="110"/>
                    <a:pt x="117" y="130"/>
                  </a:cubicBezTo>
                  <a:cubicBezTo>
                    <a:pt x="192" y="232"/>
                    <a:pt x="192" y="232"/>
                    <a:pt x="192" y="232"/>
                  </a:cubicBezTo>
                  <a:cubicBezTo>
                    <a:pt x="230" y="190"/>
                    <a:pt x="230" y="190"/>
                    <a:pt x="230" y="190"/>
                  </a:cubicBezTo>
                  <a:cubicBezTo>
                    <a:pt x="245" y="198"/>
                    <a:pt x="245" y="198"/>
                    <a:pt x="245" y="198"/>
                  </a:cubicBezTo>
                  <a:cubicBezTo>
                    <a:pt x="203" y="246"/>
                    <a:pt x="203" y="246"/>
                    <a:pt x="203" y="246"/>
                  </a:cubicBezTo>
                  <a:cubicBezTo>
                    <a:pt x="249" y="307"/>
                    <a:pt x="249" y="307"/>
                    <a:pt x="249" y="307"/>
                  </a:cubicBezTo>
                  <a:cubicBezTo>
                    <a:pt x="228" y="307"/>
                    <a:pt x="228" y="307"/>
                    <a:pt x="228" y="307"/>
                  </a:cubicBezTo>
                  <a:lnTo>
                    <a:pt x="190" y="257"/>
                  </a:lnTo>
                  <a:close/>
                  <a:moveTo>
                    <a:pt x="84" y="152"/>
                  </a:moveTo>
                  <a:cubicBezTo>
                    <a:pt x="55" y="170"/>
                    <a:pt x="19" y="193"/>
                    <a:pt x="19" y="231"/>
                  </a:cubicBezTo>
                  <a:cubicBezTo>
                    <a:pt x="19" y="265"/>
                    <a:pt x="44" y="295"/>
                    <a:pt x="79" y="295"/>
                  </a:cubicBezTo>
                  <a:cubicBezTo>
                    <a:pt x="114" y="295"/>
                    <a:pt x="151" y="265"/>
                    <a:pt x="179" y="242"/>
                  </a:cubicBezTo>
                  <a:cubicBezTo>
                    <a:pt x="103" y="139"/>
                    <a:pt x="103" y="139"/>
                    <a:pt x="103" y="139"/>
                  </a:cubicBezTo>
                  <a:lnTo>
                    <a:pt x="84" y="152"/>
                  </a:lnTo>
                  <a:close/>
                  <a:moveTo>
                    <a:pt x="79" y="60"/>
                  </a:moveTo>
                  <a:cubicBezTo>
                    <a:pt x="79" y="81"/>
                    <a:pt x="95" y="97"/>
                    <a:pt x="106" y="115"/>
                  </a:cubicBezTo>
                  <a:cubicBezTo>
                    <a:pt x="127" y="99"/>
                    <a:pt x="154" y="86"/>
                    <a:pt x="154" y="55"/>
                  </a:cubicBezTo>
                  <a:cubicBezTo>
                    <a:pt x="154" y="35"/>
                    <a:pt x="138" y="18"/>
                    <a:pt x="118" y="18"/>
                  </a:cubicBezTo>
                  <a:cubicBezTo>
                    <a:pt x="96" y="18"/>
                    <a:pt x="79" y="39"/>
                    <a:pt x="79" y="6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5" name="Freeform 8"/>
            <p:cNvSpPr>
              <a:spLocks noEditPoints="1"/>
            </p:cNvSpPr>
            <p:nvPr userDrawn="1"/>
          </p:nvSpPr>
          <p:spPr bwMode="gray">
            <a:xfrm>
              <a:off x="9821863" y="2614613"/>
              <a:ext cx="1825625" cy="1751013"/>
            </a:xfrm>
            <a:custGeom>
              <a:avLst/>
              <a:gdLst>
                <a:gd name="T0" fmla="*/ 380 w 1150"/>
                <a:gd name="T1" fmla="*/ 913 h 1103"/>
                <a:gd name="T2" fmla="*/ 303 w 1150"/>
                <a:gd name="T3" fmla="*/ 1103 h 1103"/>
                <a:gd name="T4" fmla="*/ 0 w 1150"/>
                <a:gd name="T5" fmla="*/ 1103 h 1103"/>
                <a:gd name="T6" fmla="*/ 424 w 1150"/>
                <a:gd name="T7" fmla="*/ 0 h 1103"/>
                <a:gd name="T8" fmla="*/ 734 w 1150"/>
                <a:gd name="T9" fmla="*/ 0 h 1103"/>
                <a:gd name="T10" fmla="*/ 1150 w 1150"/>
                <a:gd name="T11" fmla="*/ 1103 h 1103"/>
                <a:gd name="T12" fmla="*/ 843 w 1150"/>
                <a:gd name="T13" fmla="*/ 1103 h 1103"/>
                <a:gd name="T14" fmla="*/ 774 w 1150"/>
                <a:gd name="T15" fmla="*/ 913 h 1103"/>
                <a:gd name="T16" fmla="*/ 380 w 1150"/>
                <a:gd name="T17" fmla="*/ 913 h 1103"/>
                <a:gd name="T18" fmla="*/ 581 w 1150"/>
                <a:gd name="T19" fmla="*/ 344 h 1103"/>
                <a:gd name="T20" fmla="*/ 577 w 1150"/>
                <a:gd name="T21" fmla="*/ 344 h 1103"/>
                <a:gd name="T22" fmla="*/ 456 w 1150"/>
                <a:gd name="T23" fmla="*/ 694 h 1103"/>
                <a:gd name="T24" fmla="*/ 697 w 1150"/>
                <a:gd name="T25" fmla="*/ 694 h 1103"/>
                <a:gd name="T26" fmla="*/ 581 w 1150"/>
                <a:gd name="T27" fmla="*/ 344 h 1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50" h="1103">
                  <a:moveTo>
                    <a:pt x="380" y="913"/>
                  </a:moveTo>
                  <a:lnTo>
                    <a:pt x="303" y="1103"/>
                  </a:lnTo>
                  <a:lnTo>
                    <a:pt x="0" y="1103"/>
                  </a:lnTo>
                  <a:lnTo>
                    <a:pt x="424" y="0"/>
                  </a:lnTo>
                  <a:lnTo>
                    <a:pt x="734" y="0"/>
                  </a:lnTo>
                  <a:lnTo>
                    <a:pt x="1150" y="1103"/>
                  </a:lnTo>
                  <a:lnTo>
                    <a:pt x="843" y="1103"/>
                  </a:lnTo>
                  <a:lnTo>
                    <a:pt x="774" y="913"/>
                  </a:lnTo>
                  <a:lnTo>
                    <a:pt x="380" y="913"/>
                  </a:lnTo>
                  <a:close/>
                  <a:moveTo>
                    <a:pt x="581" y="344"/>
                  </a:moveTo>
                  <a:lnTo>
                    <a:pt x="577" y="344"/>
                  </a:lnTo>
                  <a:lnTo>
                    <a:pt x="456" y="694"/>
                  </a:lnTo>
                  <a:lnTo>
                    <a:pt x="697" y="694"/>
                  </a:lnTo>
                  <a:lnTo>
                    <a:pt x="581" y="34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25930215"/>
      </p:ext>
    </p:extLst>
  </p:cSld>
  <p:clrMapOvr>
    <a:masterClrMapping/>
  </p:clrMapOvr>
  <p:transition/>
  <p:hf hdr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1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November 2022</a:t>
            </a:r>
          </a:p>
        </p:txBody>
      </p:sp>
      <p:sp>
        <p:nvSpPr>
          <p:cNvPr id="1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12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 B.V.</a:t>
            </a:r>
          </a:p>
        </p:txBody>
      </p:sp>
      <p:sp>
        <p:nvSpPr>
          <p:cNvPr id="7" name="TextBox 6" descr="CONFIDENTIAL_TAG_0xFFEE">
            <a:extLst>
              <a:ext uri="{FF2B5EF4-FFF2-40B4-BE49-F238E27FC236}">
                <a16:creationId xmlns:a16="http://schemas.microsoft.com/office/drawing/2014/main" id="{D5E0FE56-F9A1-411C-9A57-DEC2EBCDDAE7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RESTRICTED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6008587"/>
      </p:ext>
    </p:extLst>
  </p:cSld>
  <p:clrMapOvr>
    <a:masterClrMapping/>
  </p:clrMapOvr>
  <p:transition/>
  <p:hf hdr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(Mandator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0208" y="1257010"/>
            <a:ext cx="4316400" cy="431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5031590"/>
      </p:ext>
    </p:extLst>
  </p:cSld>
  <p:clrMapOvr>
    <a:masterClrMapping/>
  </p:clrMapOvr>
  <p:transition/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- 2 Lin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03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3pPr>
            <a:lvl4pPr marL="633600" indent="-2304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4pPr>
            <a:lvl5pPr marL="835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5pPr>
            <a:lvl6pPr marL="968400" indent="-1332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05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November 2022</a:t>
            </a:r>
            <a:endParaRPr lang="en-GB" dirty="0"/>
          </a:p>
        </p:txBody>
      </p:sp>
      <p:sp>
        <p:nvSpPr>
          <p:cNvPr id="1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 </a:t>
            </a:r>
            <a:endParaRPr lang="en-GB" dirty="0"/>
          </a:p>
        </p:txBody>
      </p:sp>
      <p:sp>
        <p:nvSpPr>
          <p:cNvPr id="10" name="TextBox 9" descr="CONFIDENTIAL_TAG_0xFFEE">
            <a:extLst>
              <a:ext uri="{FF2B5EF4-FFF2-40B4-BE49-F238E27FC236}">
                <a16:creationId xmlns:a16="http://schemas.microsoft.com/office/drawing/2014/main" id="{EABD8EB0-A1F4-4E9E-9DE5-880E90F50089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RESTRICTED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00732890"/>
      </p:ext>
    </p:extLst>
  </p:cSld>
  <p:clrMapOvr>
    <a:masterClrMapping/>
  </p:clrMapOvr>
  <p:transition/>
  <p:hf hdr="0" ft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Placeholder 1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192" b="10192"/>
          <a:stretch/>
        </p:blipFill>
        <p:spPr bwMode="auto">
          <a:xfrm>
            <a:off x="-2381" y="0"/>
            <a:ext cx="12194382" cy="6858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2" y="0"/>
            <a:ext cx="12194723" cy="6857999"/>
          </a:xfrm>
          <a:custGeom>
            <a:avLst/>
            <a:gdLst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63913 w 12194723"/>
              <a:gd name="connsiteY5" fmla="*/ 763913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63913 w 12194723"/>
              <a:gd name="connsiteY9" fmla="*/ 763913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97906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3336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18431 w 12194723"/>
              <a:gd name="connsiteY7" fmla="*/ 6359075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4723" h="6857999">
                <a:moveTo>
                  <a:pt x="0" y="0"/>
                </a:moveTo>
                <a:lnTo>
                  <a:pt x="12194723" y="0"/>
                </a:lnTo>
                <a:lnTo>
                  <a:pt x="12194723" y="6857999"/>
                </a:lnTo>
                <a:lnTo>
                  <a:pt x="0" y="6857999"/>
                </a:lnTo>
                <a:lnTo>
                  <a:pt x="0" y="0"/>
                </a:lnTo>
                <a:close/>
                <a:moveTo>
                  <a:pt x="753155" y="3560901"/>
                </a:moveTo>
                <a:lnTo>
                  <a:pt x="763913" y="6359075"/>
                </a:lnTo>
                <a:lnTo>
                  <a:pt x="7622163" y="6355342"/>
                </a:lnTo>
                <a:cubicBezTo>
                  <a:pt x="7618577" y="5510947"/>
                  <a:pt x="7626189" y="4405296"/>
                  <a:pt x="7622603" y="3560901"/>
                </a:cubicBezTo>
                <a:lnTo>
                  <a:pt x="753155" y="3560901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grpSp>
        <p:nvGrpSpPr>
          <p:cNvPr id="2" name="Group 1"/>
          <p:cNvGrpSpPr/>
          <p:nvPr userDrawn="1"/>
        </p:nvGrpSpPr>
        <p:grpSpPr bwMode="gray">
          <a:xfrm>
            <a:off x="744114" y="3556002"/>
            <a:ext cx="6875879" cy="2803523"/>
            <a:chOff x="744114" y="3556002"/>
            <a:chExt cx="6875879" cy="2803523"/>
          </a:xfrm>
        </p:grpSpPr>
        <p:sp>
          <p:nvSpPr>
            <p:cNvPr id="113" name="Rectangle 112"/>
            <p:cNvSpPr/>
            <p:nvPr userDrawn="1"/>
          </p:nvSpPr>
          <p:spPr bwMode="gray">
            <a:xfrm>
              <a:off x="761993" y="3556002"/>
              <a:ext cx="6858000" cy="2803523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10" name="Rectangle 109" descr="&lt;Shell Yellow Bar&gt;" title="&lt;Shell Yellow Bar&gt;"/>
            <p:cNvSpPr/>
            <p:nvPr userDrawn="1"/>
          </p:nvSpPr>
          <p:spPr bwMode="gray">
            <a:xfrm>
              <a:off x="2175500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pic>
          <p:nvPicPr>
            <p:cNvPr id="111" name="Picture 110" descr="PECTEN.png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744114" y="3678108"/>
              <a:ext cx="1465237" cy="1465237"/>
            </a:xfrm>
            <a:prstGeom prst="rect">
              <a:avLst/>
            </a:prstGeom>
          </p:spPr>
        </p:pic>
      </p:grpSp>
      <p:sp>
        <p:nvSpPr>
          <p:cNvPr id="106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760379" y="6462713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10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75500" y="4003200"/>
            <a:ext cx="5179738" cy="835200"/>
          </a:xfrm>
          <a:noFill/>
        </p:spPr>
        <p:txBody>
          <a:bodyPr lIns="0" tIns="0" rIns="0" anchor="ctr" anchorCtr="0"/>
          <a:lstStyle>
            <a:lvl1pPr>
              <a:lnSpc>
                <a:spcPct val="100000"/>
              </a:lnSpc>
              <a:defRPr sz="24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75500" y="5120640"/>
            <a:ext cx="5179738" cy="372439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4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4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2175500" y="5666465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105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2175500" y="5923869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9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7th November, 2018</a:t>
            </a:r>
            <a:endParaRPr lang="en-GB" dirty="0"/>
          </a:p>
        </p:txBody>
      </p:sp>
      <p:sp>
        <p:nvSpPr>
          <p:cNvPr id="8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22848276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3058">
          <p15:clr>
            <a:srgbClr val="FBAE40"/>
          </p15:clr>
        </p15:guide>
        <p15:guide id="2" orient="horz" pos="2235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Rectangle 102"/>
          <p:cNvSpPr/>
          <p:nvPr userDrawn="1"/>
        </p:nvSpPr>
        <p:spPr bwMode="gray">
          <a:xfrm>
            <a:off x="0" y="4313786"/>
            <a:ext cx="12192000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sp>
        <p:nvSpPr>
          <p:cNvPr id="28" name="Rectangle 2"/>
          <p:cNvSpPr>
            <a:spLocks noGrp="1" noChangeArrowheads="1"/>
          </p:cNvSpPr>
          <p:nvPr userDrawn="1">
            <p:ph type="ctrTitle"/>
          </p:nvPr>
        </p:nvSpPr>
        <p:spPr>
          <a:xfrm>
            <a:off x="1779490" y="951614"/>
            <a:ext cx="9899747" cy="918000"/>
          </a:xfrm>
          <a:noFill/>
        </p:spPr>
        <p:txBody>
          <a:bodyPr lIns="0" tIns="0" rIns="0" anchor="ctr" anchorCtr="0"/>
          <a:lstStyle>
            <a:lvl1pPr>
              <a:lnSpc>
                <a:spcPct val="110000"/>
              </a:lnSpc>
              <a:defRPr sz="2800" b="0" kern="1200" cap="none" spc="0" baseline="0">
                <a:solidFill>
                  <a:schemeClr val="tx1"/>
                </a:solidFill>
                <a:latin typeface="ShellBold" panose="00000800000000000000" pitchFamily="50" charset="0"/>
                <a:cs typeface="Arial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9" name="Rectangle 3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1779490" y="3310197"/>
            <a:ext cx="9899747" cy="749808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8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32" name="Text Placeholder 3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779490" y="4588235"/>
            <a:ext cx="7810528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ShellBold" panose="00000800000000000000" pitchFamily="50" charset="0"/>
              </a:defRPr>
            </a:lvl1pPr>
          </a:lstStyle>
          <a:p>
            <a:pPr lvl="0"/>
            <a:r>
              <a:rPr lang="en-GB"/>
              <a:t>Click to insert Author’s Name</a:t>
            </a:r>
          </a:p>
        </p:txBody>
      </p:sp>
      <p:sp>
        <p:nvSpPr>
          <p:cNvPr id="33" name="Text Placeholder 31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779490" y="4840064"/>
            <a:ext cx="7810528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/>
              <a:t>Click to insert Role in Organisation</a:t>
            </a:r>
          </a:p>
        </p:txBody>
      </p:sp>
      <p:sp>
        <p:nvSpPr>
          <p:cNvPr id="24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US" sz="850" noProof="1">
                <a:solidFill>
                  <a:schemeClr val="tx1"/>
                </a:solidFill>
                <a:latin typeface="+mn-lt"/>
                <a:cs typeface="Arial" pitchFamily="34" charset="0"/>
              </a:rPr>
              <a:t>Shell Petroleum Development Company of Nigeria</a:t>
            </a:r>
            <a:endParaRPr lang="en-GB" sz="850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5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19" name="Rectangle 18" descr="&lt;Shell Yellow Bar&gt;" title="&lt;Shell Yellow Bar&gt;"/>
          <p:cNvSpPr/>
          <p:nvPr userDrawn="1"/>
        </p:nvSpPr>
        <p:spPr bwMode="gray">
          <a:xfrm>
            <a:off x="1778011" y="761998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pic>
        <p:nvPicPr>
          <p:cNvPr id="20" name="Picture 19" descr="PECTE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000" y="645968"/>
            <a:ext cx="1524000" cy="1524000"/>
          </a:xfrm>
          <a:prstGeom prst="rect">
            <a:avLst/>
          </a:prstGeom>
        </p:spPr>
      </p:pic>
      <p:sp>
        <p:nvSpPr>
          <p:cNvPr id="8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October 2022</a:t>
            </a:r>
          </a:p>
        </p:txBody>
      </p:sp>
      <p:sp>
        <p:nvSpPr>
          <p:cNvPr id="8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14" name="TextBox 13" descr="CONFIDENTIAL_TAG_0xFFEE">
            <a:extLst>
              <a:ext uri="{FF2B5EF4-FFF2-40B4-BE49-F238E27FC236}">
                <a16:creationId xmlns:a16="http://schemas.microsoft.com/office/drawing/2014/main" id="{2AE2D325-5FB0-467C-B9BF-D85B68F7B9EE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RESTRICTED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29957781"/>
      </p:ext>
    </p:extLst>
  </p:cSld>
  <p:clrMapOvr>
    <a:masterClrMapping/>
  </p:clrMapOvr>
  <p:transition/>
  <p:hf hdr="0" ftr="0"/>
  <p:extLst>
    <p:ext uri="{DCECCB84-F9BA-43D5-87BE-67443E8EF086}">
      <p15:sldGuideLst xmlns:p15="http://schemas.microsoft.com/office/powerpoint/2012/main">
        <p15:guide id="1" pos="198">
          <p15:clr>
            <a:srgbClr val="FBAE40"/>
          </p15:clr>
        </p15:guide>
        <p15:guide id="4" pos="7357">
          <p15:clr>
            <a:srgbClr val="FBAE40"/>
          </p15:clr>
        </p15:guide>
        <p15:guide id="5" pos="1121">
          <p15:clr>
            <a:srgbClr val="FBAE40"/>
          </p15:clr>
        </p15:guide>
        <p15:guide id="6" orient="horz" pos="4074">
          <p15:clr>
            <a:srgbClr val="FBAE40"/>
          </p15:clr>
        </p15:guide>
        <p15:guide id="7" orient="horz" pos="2160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 userDrawn="1"/>
        </p:nvSpPr>
        <p:spPr bwMode="gray">
          <a:xfrm>
            <a:off x="0" y="4313786"/>
            <a:ext cx="12191999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sp>
        <p:nvSpPr>
          <p:cNvPr id="2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779490" y="950400"/>
            <a:ext cx="9899747" cy="918000"/>
          </a:xfrm>
          <a:noFill/>
        </p:spPr>
        <p:txBody>
          <a:bodyPr lIns="0" tIns="0" rIns="0" anchor="ctr" anchorCtr="0"/>
          <a:lstStyle>
            <a:lvl1pPr>
              <a:lnSpc>
                <a:spcPct val="110000"/>
              </a:lnSpc>
              <a:defRPr sz="2800" b="0" kern="1200" cap="none" spc="0" baseline="0">
                <a:solidFill>
                  <a:schemeClr val="tx1"/>
                </a:solidFill>
                <a:latin typeface="ShellBold" panose="00000800000000000000" pitchFamily="50" charset="0"/>
                <a:cs typeface="Arial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779490" y="3310197"/>
            <a:ext cx="4831323" cy="749808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8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2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1779490" y="4588235"/>
            <a:ext cx="4870924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ShellBold" panose="00000800000000000000" pitchFamily="50" charset="0"/>
              </a:defRPr>
            </a:lvl1pPr>
          </a:lstStyle>
          <a:p>
            <a:pPr lvl="0"/>
            <a:r>
              <a:rPr lang="en-GB"/>
              <a:t>Click to insert Author’s Name</a:t>
            </a:r>
          </a:p>
        </p:txBody>
      </p:sp>
      <p:sp>
        <p:nvSpPr>
          <p:cNvPr id="23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1779490" y="4840063"/>
            <a:ext cx="4870924" cy="489785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/>
              <a:t>Click to insert Role in Organisation</a:t>
            </a:r>
          </a:p>
        </p:txBody>
      </p:sp>
      <p:sp>
        <p:nvSpPr>
          <p:cNvPr id="30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US" sz="850" noProof="1">
                <a:solidFill>
                  <a:schemeClr val="tx1"/>
                </a:solidFill>
                <a:latin typeface="+mn-lt"/>
                <a:cs typeface="Arial" pitchFamily="34" charset="0"/>
              </a:rPr>
              <a:t>Shell Petroleum Development Company of Nigeria</a:t>
            </a:r>
            <a:endParaRPr lang="en-GB" sz="850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3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36" name="Rectangle 35" descr="&lt;Shell Yellow Bar&gt;" title="&lt;Shell Yellow Bar&gt;"/>
          <p:cNvSpPr/>
          <p:nvPr userDrawn="1"/>
        </p:nvSpPr>
        <p:spPr bwMode="gray">
          <a:xfrm>
            <a:off x="1778011" y="761998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pic>
        <p:nvPicPr>
          <p:cNvPr id="37" name="Picture 36" descr="PECTE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000" y="645968"/>
            <a:ext cx="1524000" cy="1524000"/>
          </a:xfrm>
          <a:prstGeom prst="rect">
            <a:avLst/>
          </a:prstGeom>
        </p:spPr>
      </p:pic>
      <p:sp>
        <p:nvSpPr>
          <p:cNvPr id="3" name="Picture Placeholder 2"/>
          <p:cNvSpPr>
            <a:spLocks noGrp="1"/>
          </p:cNvSpPr>
          <p:nvPr userDrawn="1">
            <p:ph type="pic" sz="quarter" idx="12"/>
          </p:nvPr>
        </p:nvSpPr>
        <p:spPr>
          <a:xfrm>
            <a:off x="6848418" y="2795384"/>
            <a:ext cx="4830819" cy="3049484"/>
          </a:xfrm>
        </p:spPr>
        <p:txBody>
          <a:bodyPr/>
          <a:lstStyle>
            <a:lvl1pPr>
              <a:defRPr sz="2133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12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October 2022</a:t>
            </a:r>
          </a:p>
        </p:txBody>
      </p:sp>
      <p:sp>
        <p:nvSpPr>
          <p:cNvPr id="1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15" name="TextBox 14" descr="CONFIDENTIAL_TAG_0xFFEE">
            <a:extLst>
              <a:ext uri="{FF2B5EF4-FFF2-40B4-BE49-F238E27FC236}">
                <a16:creationId xmlns:a16="http://schemas.microsoft.com/office/drawing/2014/main" id="{79A0F8B2-3DCC-414A-8F25-13341EC2F57B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RESTRICTED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39885771"/>
      </p:ext>
    </p:extLst>
  </p:cSld>
  <p:clrMapOvr>
    <a:masterClrMapping/>
  </p:clrMapOvr>
  <p:transition/>
  <p:hf hdr="0" ftr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 bwMode="gray">
          <a:xfrm>
            <a:off x="744114" y="3556002"/>
            <a:ext cx="6875879" cy="2803523"/>
            <a:chOff x="744114" y="3556002"/>
            <a:chExt cx="6875879" cy="2803523"/>
          </a:xfrm>
        </p:grpSpPr>
        <p:sp>
          <p:nvSpPr>
            <p:cNvPr id="113" name="Rectangle 112"/>
            <p:cNvSpPr/>
            <p:nvPr userDrawn="1"/>
          </p:nvSpPr>
          <p:spPr bwMode="gray">
            <a:xfrm>
              <a:off x="761993" y="3556002"/>
              <a:ext cx="6858000" cy="2803523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10" name="Rectangle 109" descr="&lt;Shell Yellow Bar&gt;" title="&lt;Shell Yellow Bar&gt;"/>
            <p:cNvSpPr/>
            <p:nvPr userDrawn="1"/>
          </p:nvSpPr>
          <p:spPr bwMode="gray">
            <a:xfrm>
              <a:off x="2175500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  <p:pic>
          <p:nvPicPr>
            <p:cNvPr id="111" name="Picture 110" descr="PECTEN.png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744114" y="3678108"/>
              <a:ext cx="1465237" cy="1465237"/>
            </a:xfrm>
            <a:prstGeom prst="rect">
              <a:avLst/>
            </a:prstGeom>
          </p:spPr>
        </p:pic>
      </p:grpSp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0" y="1"/>
            <a:ext cx="12194723" cy="4866892"/>
          </a:xfrm>
          <a:custGeom>
            <a:avLst/>
            <a:gdLst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0 w 12192000"/>
              <a:gd name="connsiteY3" fmla="*/ 4854636 h 4854636"/>
              <a:gd name="connsiteX4" fmla="*/ 0 w 12192000"/>
              <a:gd name="connsiteY4" fmla="*/ 0 h 4854636"/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592282 w 12192000"/>
              <a:gd name="connsiteY3" fmla="*/ 4842164 h 4854636"/>
              <a:gd name="connsiteX4" fmla="*/ 0 w 12192000"/>
              <a:gd name="connsiteY4" fmla="*/ 4854636 h 4854636"/>
              <a:gd name="connsiteX5" fmla="*/ 0 w 12192000"/>
              <a:gd name="connsiteY5" fmla="*/ 0 h 485463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592282 w 12192000"/>
              <a:gd name="connsiteY3" fmla="*/ 4842164 h 4888026"/>
              <a:gd name="connsiteX4" fmla="*/ 0 w 12192000"/>
              <a:gd name="connsiteY4" fmla="*/ 4854636 h 4888026"/>
              <a:gd name="connsiteX5" fmla="*/ 0 w 12192000"/>
              <a:gd name="connsiteY5" fmla="*/ 0 h 488802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841664 w 12192000"/>
              <a:gd name="connsiteY3" fmla="*/ 2909455 h 4888026"/>
              <a:gd name="connsiteX4" fmla="*/ 592282 w 12192000"/>
              <a:gd name="connsiteY4" fmla="*/ 4842164 h 4888026"/>
              <a:gd name="connsiteX5" fmla="*/ 0 w 12192000"/>
              <a:gd name="connsiteY5" fmla="*/ 4854636 h 4888026"/>
              <a:gd name="connsiteX6" fmla="*/ 0 w 12192000"/>
              <a:gd name="connsiteY6" fmla="*/ 0 h 4888026"/>
              <a:gd name="connsiteX0" fmla="*/ 0 w 12192000"/>
              <a:gd name="connsiteY0" fmla="*/ 0 h 4982265"/>
              <a:gd name="connsiteX1" fmla="*/ 12192000 w 12192000"/>
              <a:gd name="connsiteY1" fmla="*/ 0 h 4982265"/>
              <a:gd name="connsiteX2" fmla="*/ 12192000 w 12192000"/>
              <a:gd name="connsiteY2" fmla="*/ 4854636 h 4982265"/>
              <a:gd name="connsiteX3" fmla="*/ 7606145 w 12192000"/>
              <a:gd name="connsiteY3" fmla="*/ 3543300 h 4982265"/>
              <a:gd name="connsiteX4" fmla="*/ 841664 w 12192000"/>
              <a:gd name="connsiteY4" fmla="*/ 2909455 h 4982265"/>
              <a:gd name="connsiteX5" fmla="*/ 592282 w 12192000"/>
              <a:gd name="connsiteY5" fmla="*/ 4842164 h 4982265"/>
              <a:gd name="connsiteX6" fmla="*/ 0 w 12192000"/>
              <a:gd name="connsiteY6" fmla="*/ 4854636 h 4982265"/>
              <a:gd name="connsiteX7" fmla="*/ 0 w 12192000"/>
              <a:gd name="connsiteY7" fmla="*/ 0 h 4982265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592282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61702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6071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48146 w 12192000"/>
              <a:gd name="connsiteY5" fmla="*/ 3564082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7795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872233 w 12194382"/>
              <a:gd name="connsiteY6" fmla="*/ 4872048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45920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82443"/>
              <a:gd name="connsiteX1" fmla="*/ 12194382 w 12194382"/>
              <a:gd name="connsiteY1" fmla="*/ 0 h 5182443"/>
              <a:gd name="connsiteX2" fmla="*/ 12194382 w 12194382"/>
              <a:gd name="connsiteY2" fmla="*/ 4854636 h 5182443"/>
              <a:gd name="connsiteX3" fmla="*/ 7623248 w 12194382"/>
              <a:gd name="connsiteY3" fmla="*/ 4843680 h 5182443"/>
              <a:gd name="connsiteX4" fmla="*/ 7620433 w 12194382"/>
              <a:gd name="connsiteY4" fmla="*/ 3543300 h 5182443"/>
              <a:gd name="connsiteX5" fmla="*/ 762115 w 12194382"/>
              <a:gd name="connsiteY5" fmla="*/ 3547023 h 5182443"/>
              <a:gd name="connsiteX6" fmla="*/ 762695 w 12194382"/>
              <a:gd name="connsiteY6" fmla="*/ 4850671 h 5182443"/>
              <a:gd name="connsiteX7" fmla="*/ 0 w 12194382"/>
              <a:gd name="connsiteY7" fmla="*/ 4847509 h 5182443"/>
              <a:gd name="connsiteX8" fmla="*/ 2382 w 12194382"/>
              <a:gd name="connsiteY8" fmla="*/ 0 h 5182443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723"/>
              <a:gd name="connsiteY0" fmla="*/ 0 h 4854829"/>
              <a:gd name="connsiteX1" fmla="*/ 12194382 w 12194723"/>
              <a:gd name="connsiteY1" fmla="*/ 0 h 4854829"/>
              <a:gd name="connsiteX2" fmla="*/ 12194382 w 12194723"/>
              <a:gd name="connsiteY2" fmla="*/ 4854636 h 4854829"/>
              <a:gd name="connsiteX3" fmla="*/ 7623248 w 12194723"/>
              <a:gd name="connsiteY3" fmla="*/ 4843680 h 4854829"/>
              <a:gd name="connsiteX4" fmla="*/ 7620433 w 12194723"/>
              <a:gd name="connsiteY4" fmla="*/ 3543300 h 4854829"/>
              <a:gd name="connsiteX5" fmla="*/ 762115 w 12194723"/>
              <a:gd name="connsiteY5" fmla="*/ 3547023 h 4854829"/>
              <a:gd name="connsiteX6" fmla="*/ 762695 w 12194723"/>
              <a:gd name="connsiteY6" fmla="*/ 4850671 h 4854829"/>
              <a:gd name="connsiteX7" fmla="*/ 0 w 12194723"/>
              <a:gd name="connsiteY7" fmla="*/ 4847509 h 4854829"/>
              <a:gd name="connsiteX8" fmla="*/ 2382 w 12194723"/>
              <a:gd name="connsiteY8" fmla="*/ 0 h 4854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4723" h="4854829">
                <a:moveTo>
                  <a:pt x="2382" y="0"/>
                </a:moveTo>
                <a:lnTo>
                  <a:pt x="12194382" y="0"/>
                </a:lnTo>
                <a:cubicBezTo>
                  <a:pt x="12194382" y="1618212"/>
                  <a:pt x="12195150" y="4852730"/>
                  <a:pt x="12194382" y="4854636"/>
                </a:cubicBezTo>
                <a:cubicBezTo>
                  <a:pt x="12193614" y="4856542"/>
                  <a:pt x="7623176" y="4843704"/>
                  <a:pt x="7623248" y="4843680"/>
                </a:cubicBezTo>
                <a:cubicBezTo>
                  <a:pt x="7623320" y="4843656"/>
                  <a:pt x="7618248" y="3540554"/>
                  <a:pt x="7620433" y="3543300"/>
                </a:cubicBezTo>
                <a:cubicBezTo>
                  <a:pt x="7622618" y="3546046"/>
                  <a:pt x="3048221" y="3545782"/>
                  <a:pt x="762115" y="3547023"/>
                </a:cubicBezTo>
                <a:cubicBezTo>
                  <a:pt x="760398" y="3777370"/>
                  <a:pt x="763508" y="4852455"/>
                  <a:pt x="762695" y="4850671"/>
                </a:cubicBezTo>
                <a:cubicBezTo>
                  <a:pt x="761882" y="4848887"/>
                  <a:pt x="254232" y="4848563"/>
                  <a:pt x="0" y="4847509"/>
                </a:cubicBezTo>
                <a:lnTo>
                  <a:pt x="2382" y="0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06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760379" y="6462713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US" sz="850" noProof="1">
                <a:solidFill>
                  <a:schemeClr val="tx1"/>
                </a:solidFill>
                <a:latin typeface="+mn-lt"/>
                <a:cs typeface="Arial" pitchFamily="34" charset="0"/>
              </a:rPr>
              <a:t>Shell Petroleum Development Company of Nigeria</a:t>
            </a:r>
            <a:endParaRPr lang="en-GB" sz="850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0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1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75500" y="4003696"/>
            <a:ext cx="5179738" cy="834301"/>
          </a:xfrm>
          <a:noFill/>
        </p:spPr>
        <p:txBody>
          <a:bodyPr lIns="0" tIns="0" rIns="0" anchor="ctr" anchorCtr="0"/>
          <a:lstStyle>
            <a:lvl1pPr>
              <a:lnSpc>
                <a:spcPct val="100000"/>
              </a:lnSpc>
              <a:defRPr sz="2400" b="0" kern="1200" cap="none" spc="0" baseline="0">
                <a:solidFill>
                  <a:schemeClr val="tx1"/>
                </a:solidFill>
                <a:latin typeface="ShellBold" panose="00000800000000000000" pitchFamily="50" charset="0"/>
                <a:cs typeface="Arial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75500" y="5120640"/>
            <a:ext cx="5179738" cy="372439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4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104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2175500" y="5666465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ShellBold" panose="00000800000000000000" pitchFamily="50" charset="0"/>
              </a:defRPr>
            </a:lvl1pPr>
          </a:lstStyle>
          <a:p>
            <a:pPr lvl="0"/>
            <a:r>
              <a:rPr lang="en-GB"/>
              <a:t>Click to insert Author’s Name</a:t>
            </a:r>
          </a:p>
        </p:txBody>
      </p:sp>
      <p:sp>
        <p:nvSpPr>
          <p:cNvPr id="105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2175500" y="5923869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1"/>
              <a:t>Click to insert Role in Organisation</a:t>
            </a:r>
          </a:p>
        </p:txBody>
      </p:sp>
      <p:sp>
        <p:nvSpPr>
          <p:cNvPr id="9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October 2022</a:t>
            </a:r>
          </a:p>
        </p:txBody>
      </p:sp>
      <p:sp>
        <p:nvSpPr>
          <p:cNvPr id="8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16" name="TextBox 15" descr="CONFIDENTIAL_TAG_0xFFEE">
            <a:extLst>
              <a:ext uri="{FF2B5EF4-FFF2-40B4-BE49-F238E27FC236}">
                <a16:creationId xmlns:a16="http://schemas.microsoft.com/office/drawing/2014/main" id="{EF90C127-F454-4ADB-85A3-76D98B422914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RESTRICTED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8397451"/>
      </p:ext>
    </p:extLst>
  </p:cSld>
  <p:clrMapOvr>
    <a:masterClrMapping/>
  </p:clrMapOvr>
  <p:transition/>
  <p:hf hdr="0" ftr="0"/>
  <p:extLst>
    <p:ext uri="{DCECCB84-F9BA-43D5-87BE-67443E8EF086}">
      <p15:sldGuideLst xmlns:p15="http://schemas.microsoft.com/office/powerpoint/2012/main">
        <p15:guide id="1" orient="horz" pos="3058">
          <p15:clr>
            <a:srgbClr val="FBAE40"/>
          </p15:clr>
        </p15:guide>
        <p15:guide id="2" orient="horz" pos="2235">
          <p15:clr>
            <a:srgbClr val="FBAE40"/>
          </p15:clr>
        </p15:guide>
        <p15:guide id="3" orient="horz" pos="2562">
          <p15:clr>
            <a:srgbClr val="FBAE40"/>
          </p15:clr>
        </p15:guide>
        <p15:guide id="4" orient="horz" pos="2992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0" y="0"/>
            <a:ext cx="12194723" cy="6857999"/>
          </a:xfrm>
          <a:custGeom>
            <a:avLst/>
            <a:gdLst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63913 w 12194723"/>
              <a:gd name="connsiteY5" fmla="*/ 763913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63913 w 12194723"/>
              <a:gd name="connsiteY9" fmla="*/ 763913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97906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3336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18431 w 12194723"/>
              <a:gd name="connsiteY7" fmla="*/ 6359075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4723" h="6857999">
                <a:moveTo>
                  <a:pt x="0" y="0"/>
                </a:moveTo>
                <a:lnTo>
                  <a:pt x="12194723" y="0"/>
                </a:lnTo>
                <a:lnTo>
                  <a:pt x="12194723" y="6857999"/>
                </a:lnTo>
                <a:lnTo>
                  <a:pt x="0" y="6857999"/>
                </a:lnTo>
                <a:lnTo>
                  <a:pt x="0" y="0"/>
                </a:lnTo>
                <a:close/>
                <a:moveTo>
                  <a:pt x="753155" y="3560901"/>
                </a:moveTo>
                <a:lnTo>
                  <a:pt x="763913" y="6359075"/>
                </a:lnTo>
                <a:lnTo>
                  <a:pt x="7622163" y="6355342"/>
                </a:lnTo>
                <a:cubicBezTo>
                  <a:pt x="7618577" y="5510947"/>
                  <a:pt x="7626189" y="4405296"/>
                  <a:pt x="7622603" y="3560901"/>
                </a:cubicBezTo>
                <a:lnTo>
                  <a:pt x="753155" y="3560901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GB"/>
              <a:t>Click icon to add picture</a:t>
            </a:r>
          </a:p>
        </p:txBody>
      </p:sp>
      <p:grpSp>
        <p:nvGrpSpPr>
          <p:cNvPr id="2" name="Group 1"/>
          <p:cNvGrpSpPr/>
          <p:nvPr userDrawn="1"/>
        </p:nvGrpSpPr>
        <p:grpSpPr bwMode="gray">
          <a:xfrm>
            <a:off x="744114" y="3556002"/>
            <a:ext cx="6875879" cy="2803523"/>
            <a:chOff x="744114" y="3556002"/>
            <a:chExt cx="6875879" cy="2803523"/>
          </a:xfrm>
        </p:grpSpPr>
        <p:sp>
          <p:nvSpPr>
            <p:cNvPr id="113" name="Rectangle 112"/>
            <p:cNvSpPr/>
            <p:nvPr userDrawn="1"/>
          </p:nvSpPr>
          <p:spPr bwMode="gray">
            <a:xfrm>
              <a:off x="761993" y="3556002"/>
              <a:ext cx="6858000" cy="2803523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10" name="Rectangle 109" descr="&lt;Shell Yellow Bar&gt;" title="&lt;Shell Yellow Bar&gt;"/>
            <p:cNvSpPr/>
            <p:nvPr userDrawn="1"/>
          </p:nvSpPr>
          <p:spPr bwMode="gray">
            <a:xfrm>
              <a:off x="2175500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  <p:pic>
          <p:nvPicPr>
            <p:cNvPr id="111" name="Picture 110" descr="PECTEN.png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744114" y="3678108"/>
              <a:ext cx="1465237" cy="1465237"/>
            </a:xfrm>
            <a:prstGeom prst="rect">
              <a:avLst/>
            </a:prstGeom>
          </p:spPr>
        </p:pic>
      </p:grpSp>
      <p:sp>
        <p:nvSpPr>
          <p:cNvPr id="106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760379" y="6462713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US" sz="850" noProof="1">
                <a:solidFill>
                  <a:schemeClr val="tx1"/>
                </a:solidFill>
                <a:latin typeface="+mn-lt"/>
                <a:cs typeface="Arial" pitchFamily="34" charset="0"/>
              </a:rPr>
              <a:t>Shell Petroleum Development Company of Nigeria</a:t>
            </a:r>
            <a:endParaRPr lang="en-GB" sz="850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0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1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75500" y="4003200"/>
            <a:ext cx="5179738" cy="835200"/>
          </a:xfrm>
          <a:noFill/>
        </p:spPr>
        <p:txBody>
          <a:bodyPr lIns="0" tIns="0" rIns="0" anchor="ctr" anchorCtr="0"/>
          <a:lstStyle>
            <a:lvl1pPr>
              <a:lnSpc>
                <a:spcPct val="100000"/>
              </a:lnSpc>
              <a:defRPr sz="2400" b="0" kern="1200" cap="none" spc="0" baseline="0">
                <a:solidFill>
                  <a:schemeClr val="tx1"/>
                </a:solidFill>
                <a:latin typeface="ShellBold" panose="00000800000000000000" pitchFamily="50" charset="0"/>
                <a:cs typeface="Arial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75500" y="5120640"/>
            <a:ext cx="5179738" cy="372439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4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104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2175500" y="5666465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ShellBold" panose="00000800000000000000" pitchFamily="50" charset="0"/>
              </a:defRPr>
            </a:lvl1pPr>
          </a:lstStyle>
          <a:p>
            <a:pPr lvl="0"/>
            <a:r>
              <a:rPr lang="en-GB"/>
              <a:t>Click to insert Author’s Name</a:t>
            </a:r>
          </a:p>
        </p:txBody>
      </p:sp>
      <p:sp>
        <p:nvSpPr>
          <p:cNvPr id="105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2175500" y="5923869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1"/>
              <a:t>Click to insert Role in Organisation</a:t>
            </a:r>
          </a:p>
        </p:txBody>
      </p:sp>
      <p:sp>
        <p:nvSpPr>
          <p:cNvPr id="9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October 2022</a:t>
            </a:r>
          </a:p>
        </p:txBody>
      </p:sp>
      <p:sp>
        <p:nvSpPr>
          <p:cNvPr id="8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16" name="TextBox 15" descr="CONFIDENTIAL_TAG_0xFFEE">
            <a:extLst>
              <a:ext uri="{FF2B5EF4-FFF2-40B4-BE49-F238E27FC236}">
                <a16:creationId xmlns:a16="http://schemas.microsoft.com/office/drawing/2014/main" id="{F7B32746-0288-418D-B5C9-CEC2C44376B1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RESTRICTED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88421063"/>
      </p:ext>
    </p:extLst>
  </p:cSld>
  <p:clrMapOvr>
    <a:masterClrMapping/>
  </p:clrMapOvr>
  <p:transition/>
  <p:hf hdr="0" ftr="0"/>
  <p:extLst>
    <p:ext uri="{DCECCB84-F9BA-43D5-87BE-67443E8EF086}">
      <p15:sldGuideLst xmlns:p15="http://schemas.microsoft.com/office/powerpoint/2012/main">
        <p15:guide id="1" orient="horz" pos="3058">
          <p15:clr>
            <a:srgbClr val="FBAE40"/>
          </p15:clr>
        </p15:guide>
        <p15:guide id="2" orient="horz" pos="2235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  <a:latin typeface="ShellBold" panose="00000800000000000000" pitchFamily="50" charset="0"/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1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59000" indent="-228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3pPr>
            <a:lvl4pPr marL="687600" indent="-228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4pPr>
            <a:lvl5pPr marL="890800" indent="-2032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5pPr>
            <a:lvl6pPr marL="1043200" indent="-1524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October 2022</a:t>
            </a:r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9" name="TextBox 8" descr="CONFIDENTIAL_TAG_0xFFEE">
            <a:extLst>
              <a:ext uri="{FF2B5EF4-FFF2-40B4-BE49-F238E27FC236}">
                <a16:creationId xmlns:a16="http://schemas.microsoft.com/office/drawing/2014/main" id="{89A9287B-C039-4C8A-BF2A-C5CDE581F9C2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RESTRICTED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00413897"/>
      </p:ext>
    </p:extLst>
  </p:cSld>
  <p:clrMapOvr>
    <a:masterClrMapping/>
  </p:clrMapOvr>
  <p:transition/>
  <p:hf hdr="0" ft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813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1" y="0"/>
            <a:ext cx="12194382" cy="6858000"/>
          </a:xfrm>
          <a:custGeom>
            <a:avLst/>
            <a:gdLst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63913 w 12194723"/>
              <a:gd name="connsiteY5" fmla="*/ 763913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63913 w 12194723"/>
              <a:gd name="connsiteY9" fmla="*/ 763913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97906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3336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18431 w 12194723"/>
              <a:gd name="connsiteY7" fmla="*/ 6359075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482698 w 12194723"/>
              <a:gd name="connsiteY5" fmla="*/ 482850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482698 w 12194723"/>
              <a:gd name="connsiteY9" fmla="*/ 48285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7622163 w 12194723"/>
              <a:gd name="connsiteY7" fmla="*/ 6355342 h 6857999"/>
              <a:gd name="connsiteX8" fmla="*/ 1788474 w 12194723"/>
              <a:gd name="connsiteY8" fmla="*/ 508608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63833 w 12194723"/>
              <a:gd name="connsiteY8" fmla="*/ 5061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96313 w 12194723"/>
              <a:gd name="connsiteY8" fmla="*/ 486123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66332 w 12194723"/>
              <a:gd name="connsiteY8" fmla="*/ 381191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6445 w 12194723"/>
              <a:gd name="connsiteY8" fmla="*/ 558575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6109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36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36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53965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4 w 12194723"/>
              <a:gd name="connsiteY8" fmla="*/ 503609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5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4723" h="6857999">
                <a:moveTo>
                  <a:pt x="0" y="0"/>
                </a:moveTo>
                <a:lnTo>
                  <a:pt x="12194723" y="0"/>
                </a:lnTo>
                <a:lnTo>
                  <a:pt x="12194723" y="6857999"/>
                </a:lnTo>
                <a:lnTo>
                  <a:pt x="0" y="6857999"/>
                </a:lnTo>
                <a:lnTo>
                  <a:pt x="0" y="0"/>
                </a:lnTo>
                <a:close/>
                <a:moveTo>
                  <a:pt x="508891" y="511425"/>
                </a:moveTo>
                <a:cubicBezTo>
                  <a:pt x="509626" y="566329"/>
                  <a:pt x="510362" y="528366"/>
                  <a:pt x="511097" y="583270"/>
                </a:cubicBezTo>
                <a:lnTo>
                  <a:pt x="1774181" y="585272"/>
                </a:lnTo>
                <a:cubicBezTo>
                  <a:pt x="1771177" y="584735"/>
                  <a:pt x="1784691" y="508891"/>
                  <a:pt x="1769076" y="508490"/>
                </a:cubicBezTo>
                <a:cubicBezTo>
                  <a:pt x="1753461" y="508089"/>
                  <a:pt x="928953" y="510447"/>
                  <a:pt x="508891" y="511425"/>
                </a:cubicBezTo>
                <a:close/>
              </a:path>
            </a:pathLst>
          </a:custGeom>
          <a:noFill/>
          <a:ln w="317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  <a:latin typeface="ShellBold" panose="00000800000000000000" pitchFamily="50" charset="0"/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5468938" cy="4830761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59000" indent="-228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3pPr>
            <a:lvl4pPr marL="687600" indent="-228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4pPr>
            <a:lvl5pPr marL="890800" indent="-2032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5pPr>
            <a:lvl6pPr marL="1043200" indent="-1524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October 2022</a:t>
            </a:r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12" name="TextBox 11" descr="CONFIDENTIAL_TAG_0xFFEE">
            <a:extLst>
              <a:ext uri="{FF2B5EF4-FFF2-40B4-BE49-F238E27FC236}">
                <a16:creationId xmlns:a16="http://schemas.microsoft.com/office/drawing/2014/main" id="{04F8E061-4B97-40B4-B0DC-03F9BE4A1FA9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RESTRICTED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100235"/>
      </p:ext>
    </p:extLst>
  </p:cSld>
  <p:clrMapOvr>
    <a:masterClrMapping/>
  </p:clrMapOvr>
  <p:transition/>
  <p:hf hdr="0" ft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813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Hig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sz="2400" b="0" kern="1200" cap="none" baseline="0" noProof="0" dirty="0" smtClean="0">
                <a:solidFill>
                  <a:schemeClr val="tx1"/>
                </a:solidFill>
                <a:latin typeface="ShellBold" panose="00000800000000000000" pitchFamily="50" charset="0"/>
                <a:ea typeface="+mj-ea"/>
                <a:cs typeface="+mj-cs"/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400"/>
            </a:lvl1pPr>
            <a:lvl2pPr marL="176400" indent="-176400" defTabSz="357708">
              <a:lnSpc>
                <a:spcPct val="140000"/>
              </a:lnSpc>
              <a:spcBef>
                <a:spcPts val="0"/>
              </a:spcBef>
              <a:defRPr sz="1400"/>
            </a:lvl2pPr>
            <a:lvl3pPr marL="354200" indent="-1778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400"/>
            </a:lvl3pPr>
            <a:lvl4pPr marL="532000" indent="-1778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400"/>
            </a:lvl4pPr>
            <a:lvl5pPr marL="684400" indent="-1524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tabLst/>
              <a:defRPr sz="1200"/>
            </a:lvl5pPr>
            <a:lvl6pPr marL="824100" indent="-1397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10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4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October 2022</a:t>
            </a:r>
          </a:p>
        </p:txBody>
      </p:sp>
      <p:sp>
        <p:nvSpPr>
          <p:cNvPr id="1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1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8" name="TextBox 7" descr="CONFIDENTIAL_TAG_0xFFEE">
            <a:extLst>
              <a:ext uri="{FF2B5EF4-FFF2-40B4-BE49-F238E27FC236}">
                <a16:creationId xmlns:a16="http://schemas.microsoft.com/office/drawing/2014/main" id="{F8014A4A-E971-4DC8-A847-4112A7E67B4F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RESTRICTED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02234236"/>
      </p:ext>
    </p:extLst>
  </p:cSld>
  <p:clrMapOvr>
    <a:masterClrMapping/>
  </p:clrMapOvr>
  <p:transition/>
  <p:hf hdr="0" ftr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16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sz="2400" b="0" kern="1200" cap="none" baseline="0" noProof="0" dirty="0" smtClean="0">
                <a:solidFill>
                  <a:schemeClr val="tx1"/>
                </a:solidFill>
                <a:latin typeface="ShellBold" panose="00000800000000000000" pitchFamily="50" charset="0"/>
                <a:ea typeface="+mj-ea"/>
                <a:cs typeface="+mj-cs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10" name="Content Placeholder 14"/>
          <p:cNvSpPr>
            <a:spLocks noGrp="1"/>
          </p:cNvSpPr>
          <p:nvPr>
            <p:ph sz="quarter" idx="13"/>
          </p:nvPr>
        </p:nvSpPr>
        <p:spPr>
          <a:xfrm>
            <a:off x="6215064" y="1528764"/>
            <a:ext cx="5464174" cy="4830761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/>
            </a:lvl1pPr>
            <a:lvl2pPr marL="230400" indent="-2304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/>
            </a:lvl2pPr>
            <a:lvl3pPr marL="459000" indent="-228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3pPr>
            <a:lvl4pPr marL="687600" indent="-228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4pPr>
            <a:lvl5pPr marL="890800" indent="-203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600"/>
            </a:lvl5pPr>
            <a:lvl6pPr marL="1043200" indent="-152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2"/>
            <a:ext cx="5468938" cy="4830763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/>
            </a:lvl1pPr>
            <a:lvl2pPr marL="230400" indent="-2304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/>
            </a:lvl2pPr>
            <a:lvl3pPr marL="459000" indent="-228600"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3pPr>
            <a:lvl4pPr marL="687600" indent="-228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4pPr>
            <a:lvl5pPr marL="890800" indent="-203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600"/>
            </a:lvl5pPr>
            <a:lvl6pPr marL="1043200" indent="-152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October 2022</a:t>
            </a:r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9" name="TextBox 8" descr="CONFIDENTIAL_TAG_0xFFEE">
            <a:extLst>
              <a:ext uri="{FF2B5EF4-FFF2-40B4-BE49-F238E27FC236}">
                <a16:creationId xmlns:a16="http://schemas.microsoft.com/office/drawing/2014/main" id="{95AB2C02-8DEE-4BA0-A4FA-7A85C74985AC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RESTRICTED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74745645"/>
      </p:ext>
    </p:extLst>
  </p:cSld>
  <p:clrMapOvr>
    <a:masterClrMapping/>
  </p:clrMapOvr>
  <p:transition/>
  <p:hf hdr="0" ftr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765">
          <p15:clr>
            <a:srgbClr val="FBAE40"/>
          </p15:clr>
        </p15:guide>
        <p15:guide id="3" pos="3915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- Hig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dirty="0" smtClean="0">
                <a:latin typeface="ShellBold" panose="00000800000000000000" pitchFamily="50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10" name="Content Placeholder 14"/>
          <p:cNvSpPr>
            <a:spLocks noGrp="1"/>
          </p:cNvSpPr>
          <p:nvPr>
            <p:ph sz="quarter" idx="13"/>
          </p:nvPr>
        </p:nvSpPr>
        <p:spPr>
          <a:xfrm>
            <a:off x="6215063" y="1528764"/>
            <a:ext cx="5464175" cy="4830762"/>
          </a:xfrm>
        </p:spPr>
        <p:txBody>
          <a:bodyPr/>
          <a:lstStyle>
            <a:lvl1pPr marL="0" indent="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400"/>
            </a:lvl1pPr>
            <a:lvl2pPr marL="176400" indent="-176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400"/>
            </a:lvl2pPr>
            <a:lvl3pPr marL="354200" indent="-1778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3pPr>
            <a:lvl4pPr marL="532000" indent="-1778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4pPr>
            <a:lvl5pPr marL="684400" indent="-152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5pPr>
            <a:lvl6pPr marL="824100" indent="-1397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tabLst/>
              <a:defRPr sz="110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2"/>
            <a:ext cx="5468938" cy="4830763"/>
          </a:xfrm>
        </p:spPr>
        <p:txBody>
          <a:bodyPr/>
          <a:lstStyle>
            <a:lvl1pPr marL="0" indent="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400"/>
            </a:lvl1pPr>
            <a:lvl2pPr marL="176400" indent="-17640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400"/>
            </a:lvl2pPr>
            <a:lvl3pPr marL="354200" indent="-177800">
              <a:lnSpc>
                <a:spcPct val="140000"/>
              </a:lnSpc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400"/>
            </a:lvl3pPr>
            <a:lvl4pPr marL="532000" indent="-177800">
              <a:lnSpc>
                <a:spcPct val="140000"/>
              </a:lnSpc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4pPr>
            <a:lvl5pPr marL="684400" indent="-152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5pPr>
            <a:lvl6pPr marL="824100" indent="-1397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10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October 2022</a:t>
            </a:r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9" name="TextBox 8" descr="CONFIDENTIAL_TAG_0xFFEE">
            <a:extLst>
              <a:ext uri="{FF2B5EF4-FFF2-40B4-BE49-F238E27FC236}">
                <a16:creationId xmlns:a16="http://schemas.microsoft.com/office/drawing/2014/main" id="{0A524DA5-207A-4F37-AD33-FBFBBDCB69AC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RESTRICTED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81957641"/>
      </p:ext>
    </p:extLst>
  </p:cSld>
  <p:clrMapOvr>
    <a:masterClrMapping/>
  </p:clrMapOvr>
  <p:transition/>
  <p:hf hdr="0" ftr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Content Placeholder 51"/>
          <p:cNvSpPr>
            <a:spLocks noGrp="1"/>
          </p:cNvSpPr>
          <p:nvPr>
            <p:ph sz="quarter" idx="29" hasCustomPrompt="1"/>
          </p:nvPr>
        </p:nvSpPr>
        <p:spPr>
          <a:xfrm>
            <a:off x="509312" y="6201069"/>
            <a:ext cx="5543051" cy="158455"/>
          </a:xfrm>
        </p:spPr>
        <p:txBody>
          <a:bodyPr wrap="square">
            <a:noAutofit/>
          </a:bodyPr>
          <a:lstStyle>
            <a:lvl1pPr>
              <a:defRPr sz="90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/>
              <a:t>Click to edit source</a:t>
            </a:r>
          </a:p>
        </p:txBody>
      </p:sp>
      <p:sp>
        <p:nvSpPr>
          <p:cNvPr id="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7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noProof="0" dirty="0" smtClean="0">
                <a:latin typeface="ShellBold" panose="00000800000000000000" pitchFamily="50" charset="0"/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39" name="Content Placeholder 51"/>
          <p:cNvSpPr>
            <a:spLocks noGrp="1"/>
          </p:cNvSpPr>
          <p:nvPr>
            <p:ph sz="quarter" idx="45" hasCustomPrompt="1"/>
          </p:nvPr>
        </p:nvSpPr>
        <p:spPr>
          <a:xfrm>
            <a:off x="508000" y="4199574"/>
            <a:ext cx="5468938" cy="234616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Click to edit Unit of measure</a:t>
            </a:r>
          </a:p>
        </p:txBody>
      </p:sp>
      <p:sp>
        <p:nvSpPr>
          <p:cNvPr id="40" name="Content Placeholder 51"/>
          <p:cNvSpPr>
            <a:spLocks noGrp="1"/>
          </p:cNvSpPr>
          <p:nvPr>
            <p:ph sz="quarter" idx="46" hasCustomPrompt="1"/>
          </p:nvPr>
        </p:nvSpPr>
        <p:spPr>
          <a:xfrm>
            <a:off x="508000" y="3864611"/>
            <a:ext cx="5468938" cy="268150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ShellBold" panose="00000800000000000000" pitchFamily="50" charset="0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Chart title appears here</a:t>
            </a:r>
          </a:p>
        </p:txBody>
      </p:sp>
      <p:cxnSp>
        <p:nvCxnSpPr>
          <p:cNvPr id="41" name="Straight Connector 40"/>
          <p:cNvCxnSpPr/>
          <p:nvPr userDrawn="1"/>
        </p:nvCxnSpPr>
        <p:spPr>
          <a:xfrm>
            <a:off x="508000" y="4141370"/>
            <a:ext cx="5468938" cy="941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Chart Placeholder 16"/>
          <p:cNvSpPr>
            <a:spLocks noGrp="1"/>
          </p:cNvSpPr>
          <p:nvPr>
            <p:ph type="chart" sz="quarter" idx="47"/>
          </p:nvPr>
        </p:nvSpPr>
        <p:spPr>
          <a:xfrm>
            <a:off x="508000" y="4456229"/>
            <a:ext cx="5468938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/>
              <a:t>Click icon to add chart</a:t>
            </a:r>
          </a:p>
        </p:txBody>
      </p:sp>
      <p:cxnSp>
        <p:nvCxnSpPr>
          <p:cNvPr id="43" name="Straight Connector 42"/>
          <p:cNvCxnSpPr/>
          <p:nvPr userDrawn="1"/>
        </p:nvCxnSpPr>
        <p:spPr>
          <a:xfrm flipV="1">
            <a:off x="508000" y="5966640"/>
            <a:ext cx="5468938" cy="188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Content Placeholder 51"/>
          <p:cNvSpPr>
            <a:spLocks noGrp="1"/>
          </p:cNvSpPr>
          <p:nvPr>
            <p:ph sz="quarter" idx="54" hasCustomPrompt="1"/>
          </p:nvPr>
        </p:nvSpPr>
        <p:spPr>
          <a:xfrm>
            <a:off x="508000" y="1863726"/>
            <a:ext cx="5468938" cy="234616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Click to edit Unit of measure</a:t>
            </a:r>
          </a:p>
        </p:txBody>
      </p:sp>
      <p:sp>
        <p:nvSpPr>
          <p:cNvPr id="100" name="Content Placeholder 51"/>
          <p:cNvSpPr>
            <a:spLocks noGrp="1"/>
          </p:cNvSpPr>
          <p:nvPr>
            <p:ph sz="quarter" idx="55" hasCustomPrompt="1"/>
          </p:nvPr>
        </p:nvSpPr>
        <p:spPr>
          <a:xfrm>
            <a:off x="508000" y="1528763"/>
            <a:ext cx="5468938" cy="268150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ShellBold" panose="00000800000000000000" pitchFamily="50" charset="0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Chart title appears here</a:t>
            </a:r>
          </a:p>
        </p:txBody>
      </p:sp>
      <p:cxnSp>
        <p:nvCxnSpPr>
          <p:cNvPr id="101" name="Straight Connector 100"/>
          <p:cNvCxnSpPr/>
          <p:nvPr userDrawn="1"/>
        </p:nvCxnSpPr>
        <p:spPr>
          <a:xfrm>
            <a:off x="508000" y="1805522"/>
            <a:ext cx="5468938" cy="941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Chart Placeholder 16"/>
          <p:cNvSpPr>
            <a:spLocks noGrp="1"/>
          </p:cNvSpPr>
          <p:nvPr>
            <p:ph type="chart" sz="quarter" idx="56"/>
          </p:nvPr>
        </p:nvSpPr>
        <p:spPr>
          <a:xfrm>
            <a:off x="508000" y="2120382"/>
            <a:ext cx="5468938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/>
              <a:t>Click icon to add chart</a:t>
            </a:r>
          </a:p>
        </p:txBody>
      </p:sp>
      <p:cxnSp>
        <p:nvCxnSpPr>
          <p:cNvPr id="103" name="Straight Connector 102"/>
          <p:cNvCxnSpPr/>
          <p:nvPr userDrawn="1"/>
        </p:nvCxnSpPr>
        <p:spPr>
          <a:xfrm flipV="1">
            <a:off x="508000" y="3732357"/>
            <a:ext cx="5468938" cy="188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Content Placeholder 51"/>
          <p:cNvSpPr>
            <a:spLocks noGrp="1"/>
          </p:cNvSpPr>
          <p:nvPr>
            <p:ph sz="quarter" idx="57" hasCustomPrompt="1"/>
          </p:nvPr>
        </p:nvSpPr>
        <p:spPr>
          <a:xfrm>
            <a:off x="6215063" y="4199574"/>
            <a:ext cx="5464175" cy="234616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Click to edit Unit of measure</a:t>
            </a:r>
          </a:p>
        </p:txBody>
      </p:sp>
      <p:sp>
        <p:nvSpPr>
          <p:cNvPr id="105" name="Content Placeholder 51"/>
          <p:cNvSpPr>
            <a:spLocks noGrp="1"/>
          </p:cNvSpPr>
          <p:nvPr>
            <p:ph sz="quarter" idx="58" hasCustomPrompt="1"/>
          </p:nvPr>
        </p:nvSpPr>
        <p:spPr>
          <a:xfrm>
            <a:off x="6215063" y="3864611"/>
            <a:ext cx="5464175" cy="268150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ShellBold" panose="00000800000000000000" pitchFamily="50" charset="0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Chart title appears here</a:t>
            </a:r>
          </a:p>
        </p:txBody>
      </p:sp>
      <p:cxnSp>
        <p:nvCxnSpPr>
          <p:cNvPr id="106" name="Straight Connector 105"/>
          <p:cNvCxnSpPr/>
          <p:nvPr userDrawn="1"/>
        </p:nvCxnSpPr>
        <p:spPr>
          <a:xfrm>
            <a:off x="6215063" y="4141387"/>
            <a:ext cx="5464175" cy="914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Chart Placeholder 16"/>
          <p:cNvSpPr>
            <a:spLocks noGrp="1"/>
          </p:cNvSpPr>
          <p:nvPr>
            <p:ph type="chart" sz="quarter" idx="59"/>
          </p:nvPr>
        </p:nvSpPr>
        <p:spPr>
          <a:xfrm>
            <a:off x="6215063" y="4456229"/>
            <a:ext cx="5464175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/>
              <a:t>Click icon to add chart</a:t>
            </a:r>
          </a:p>
        </p:txBody>
      </p:sp>
      <p:cxnSp>
        <p:nvCxnSpPr>
          <p:cNvPr id="108" name="Straight Connector 107"/>
          <p:cNvCxnSpPr/>
          <p:nvPr userDrawn="1"/>
        </p:nvCxnSpPr>
        <p:spPr>
          <a:xfrm flipV="1">
            <a:off x="6215063" y="5966657"/>
            <a:ext cx="5464175" cy="1829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Content Placeholder 51"/>
          <p:cNvSpPr>
            <a:spLocks noGrp="1"/>
          </p:cNvSpPr>
          <p:nvPr>
            <p:ph sz="quarter" idx="60" hasCustomPrompt="1"/>
          </p:nvPr>
        </p:nvSpPr>
        <p:spPr>
          <a:xfrm>
            <a:off x="6215063" y="1863726"/>
            <a:ext cx="5464175" cy="234616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Click to edit Unit of measure</a:t>
            </a:r>
          </a:p>
        </p:txBody>
      </p:sp>
      <p:sp>
        <p:nvSpPr>
          <p:cNvPr id="110" name="Content Placeholder 51"/>
          <p:cNvSpPr>
            <a:spLocks noGrp="1"/>
          </p:cNvSpPr>
          <p:nvPr>
            <p:ph sz="quarter" idx="61" hasCustomPrompt="1"/>
          </p:nvPr>
        </p:nvSpPr>
        <p:spPr>
          <a:xfrm>
            <a:off x="6215063" y="1528763"/>
            <a:ext cx="5464175" cy="268150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ShellBold" panose="00000800000000000000" pitchFamily="50" charset="0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Chart title appears here</a:t>
            </a:r>
          </a:p>
        </p:txBody>
      </p:sp>
      <p:cxnSp>
        <p:nvCxnSpPr>
          <p:cNvPr id="111" name="Straight Connector 110"/>
          <p:cNvCxnSpPr/>
          <p:nvPr userDrawn="1"/>
        </p:nvCxnSpPr>
        <p:spPr>
          <a:xfrm>
            <a:off x="6215063" y="1805539"/>
            <a:ext cx="5464175" cy="914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Chart Placeholder 16"/>
          <p:cNvSpPr>
            <a:spLocks noGrp="1"/>
          </p:cNvSpPr>
          <p:nvPr>
            <p:ph type="chart" sz="quarter" idx="62"/>
          </p:nvPr>
        </p:nvSpPr>
        <p:spPr>
          <a:xfrm>
            <a:off x="6215063" y="2120382"/>
            <a:ext cx="5464175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/>
              <a:t>Click icon to add chart</a:t>
            </a:r>
          </a:p>
        </p:txBody>
      </p:sp>
      <p:cxnSp>
        <p:nvCxnSpPr>
          <p:cNvPr id="113" name="Straight Connector 112"/>
          <p:cNvCxnSpPr/>
          <p:nvPr userDrawn="1"/>
        </p:nvCxnSpPr>
        <p:spPr>
          <a:xfrm>
            <a:off x="6089108" y="3730543"/>
            <a:ext cx="5265195" cy="2448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October 2022</a:t>
            </a:r>
          </a:p>
        </p:txBody>
      </p:sp>
      <p:sp>
        <p:nvSpPr>
          <p:cNvPr id="3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3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28" name="TextBox 27" descr="CONFIDENTIAL_TAG_0xFFEE">
            <a:extLst>
              <a:ext uri="{FF2B5EF4-FFF2-40B4-BE49-F238E27FC236}">
                <a16:creationId xmlns:a16="http://schemas.microsoft.com/office/drawing/2014/main" id="{9EB29BBC-4BC6-433E-83D5-CA362B06E202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RESTRICTED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2983167"/>
      </p:ext>
    </p:extLst>
  </p:cSld>
  <p:clrMapOvr>
    <a:masterClrMapping/>
  </p:clrMapOvr>
  <p:transition/>
  <p:hf hdr="0" ftr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1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03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3pPr>
            <a:lvl4pPr marL="633600" indent="-2304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4pPr>
            <a:lvl5pPr marL="835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5pPr>
            <a:lvl6pPr marL="986400" indent="-1512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7th November, 2018</a:t>
            </a:r>
            <a:endParaRPr lang="en-GB" dirty="0"/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95044250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813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 userDrawn="1"/>
        </p:nvSpPr>
        <p:spPr bwMode="gray">
          <a:xfrm>
            <a:off x="1" y="4313784"/>
            <a:ext cx="12192000" cy="25442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sp>
        <p:nvSpPr>
          <p:cNvPr id="27" name="Rectangle 26" descr="&lt;Shell Yellow Bar&gt;" title="&lt;Shell Yellow Bar&gt;"/>
          <p:cNvSpPr/>
          <p:nvPr userDrawn="1"/>
        </p:nvSpPr>
        <p:spPr bwMode="gray">
          <a:xfrm>
            <a:off x="761993" y="1524000"/>
            <a:ext cx="1269984" cy="75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763200" y="2636980"/>
            <a:ext cx="6397451" cy="136207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400" b="0" cap="none" baseline="0">
                <a:solidFill>
                  <a:schemeClr val="tx1"/>
                </a:solidFill>
                <a:latin typeface="ShellBold" panose="00000800000000000000" pitchFamily="50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5" name="Text Placeholder 2"/>
          <p:cNvSpPr>
            <a:spLocks noGrp="1"/>
          </p:cNvSpPr>
          <p:nvPr>
            <p:ph type="body" idx="1"/>
          </p:nvPr>
        </p:nvSpPr>
        <p:spPr>
          <a:xfrm>
            <a:off x="763200" y="1696947"/>
            <a:ext cx="6397451" cy="82123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800" b="0" cap="none" baseline="0">
                <a:solidFill>
                  <a:schemeClr val="tx1"/>
                </a:solidFill>
                <a:latin typeface="ShellBold" panose="00000800000000000000" pitchFamily="50" charset="0"/>
              </a:defRPr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7402833" y="1924112"/>
            <a:ext cx="4274842" cy="2930523"/>
          </a:xfrm>
          <a:prstGeom prst="rect">
            <a:avLst/>
          </a:prstGeom>
        </p:spPr>
        <p:txBody>
          <a:bodyPr lIns="0" tIns="0" rIns="0" bIns="0"/>
          <a:lstStyle>
            <a:lvl1pPr marL="0" algn="r" defTabSz="1219170" rtl="0" eaLnBrk="1" latinLnBrk="0" hangingPunct="1">
              <a:lnSpc>
                <a:spcPct val="100000"/>
              </a:lnSpc>
              <a:buClr>
                <a:srgbClr val="DD1D21"/>
              </a:buClr>
              <a:buSzPct val="85000"/>
              <a:buNone/>
              <a:tabLst>
                <a:tab pos="1081088" algn="l"/>
              </a:tabLst>
              <a:defRPr lang="en-GB" sz="20000" kern="10000" spc="-1000" baseline="0" dirty="0">
                <a:ln w="3175">
                  <a:noFill/>
                </a:ln>
                <a:solidFill>
                  <a:schemeClr val="accent1"/>
                </a:solidFill>
                <a:latin typeface="ShellBold" panose="00000800000000000000" pitchFamily="50" charset="0"/>
                <a:ea typeface="ShellMedium" panose="00000600000000000000" pitchFamily="50" charset="0"/>
                <a:cs typeface="ShellBold" panose="00000800000000000000" pitchFamily="50" charset="0"/>
              </a:defRPr>
            </a:lvl1pPr>
          </a:lstStyle>
          <a:p>
            <a:pPr lvl="0"/>
            <a:r>
              <a:rPr lang="en-GB"/>
              <a:t>0.0</a:t>
            </a:r>
          </a:p>
        </p:txBody>
      </p:sp>
      <p:sp>
        <p:nvSpPr>
          <p:cNvPr id="14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October 2022</a:t>
            </a:r>
          </a:p>
        </p:txBody>
      </p:sp>
      <p:sp>
        <p:nvSpPr>
          <p:cNvPr id="15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US" sz="850" noProof="1">
                <a:solidFill>
                  <a:schemeClr val="tx1"/>
                </a:solidFill>
                <a:latin typeface="+mn-lt"/>
                <a:cs typeface="Arial" pitchFamily="34" charset="0"/>
              </a:rPr>
              <a:t>Shell Petroleum Development Company of Nigeria</a:t>
            </a:r>
            <a:endParaRPr lang="en-GB" sz="850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2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12" name="TextBox 11" descr="CONFIDENTIAL_TAG_0xFFEE">
            <a:extLst>
              <a:ext uri="{FF2B5EF4-FFF2-40B4-BE49-F238E27FC236}">
                <a16:creationId xmlns:a16="http://schemas.microsoft.com/office/drawing/2014/main" id="{7DD895A9-22EB-4B82-ACD3-0A1869D6B861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RESTRICTED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1087720"/>
      </p:ext>
    </p:extLst>
  </p:cSld>
  <p:clrMapOvr>
    <a:masterClrMapping/>
  </p:clrMapOvr>
  <p:transition/>
  <p:hf hdr="0" ftr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 bwMode="gray">
          <a:xfrm>
            <a:off x="761993" y="3556002"/>
            <a:ext cx="6858000" cy="2540001"/>
            <a:chOff x="761993" y="3556002"/>
            <a:chExt cx="6858000" cy="2540001"/>
          </a:xfrm>
        </p:grpSpPr>
        <p:sp>
          <p:nvSpPr>
            <p:cNvPr id="16" name="Rectangle 15"/>
            <p:cNvSpPr/>
            <p:nvPr userDrawn="1"/>
          </p:nvSpPr>
          <p:spPr bwMode="gray">
            <a:xfrm>
              <a:off x="761993" y="3556002"/>
              <a:ext cx="6858000" cy="2540001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8" name="Rectangle 27" descr="&lt;Shell Yellow Bar&gt;" title="&lt;Shell Yellow Bar&gt;"/>
            <p:cNvSpPr/>
            <p:nvPr userDrawn="1"/>
          </p:nvSpPr>
          <p:spPr bwMode="gray">
            <a:xfrm>
              <a:off x="1145875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</p:grpSp>
      <p:sp>
        <p:nvSpPr>
          <p:cNvPr id="32" name="Rectangle 31"/>
          <p:cNvSpPr/>
          <p:nvPr userDrawn="1"/>
        </p:nvSpPr>
        <p:spPr bwMode="white">
          <a:xfrm>
            <a:off x="501606" y="488935"/>
            <a:ext cx="1311092" cy="11880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2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0" y="1"/>
            <a:ext cx="12194723" cy="4866892"/>
          </a:xfrm>
          <a:custGeom>
            <a:avLst/>
            <a:gdLst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0 w 12192000"/>
              <a:gd name="connsiteY3" fmla="*/ 4854636 h 4854636"/>
              <a:gd name="connsiteX4" fmla="*/ 0 w 12192000"/>
              <a:gd name="connsiteY4" fmla="*/ 0 h 4854636"/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592282 w 12192000"/>
              <a:gd name="connsiteY3" fmla="*/ 4842164 h 4854636"/>
              <a:gd name="connsiteX4" fmla="*/ 0 w 12192000"/>
              <a:gd name="connsiteY4" fmla="*/ 4854636 h 4854636"/>
              <a:gd name="connsiteX5" fmla="*/ 0 w 12192000"/>
              <a:gd name="connsiteY5" fmla="*/ 0 h 485463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592282 w 12192000"/>
              <a:gd name="connsiteY3" fmla="*/ 4842164 h 4888026"/>
              <a:gd name="connsiteX4" fmla="*/ 0 w 12192000"/>
              <a:gd name="connsiteY4" fmla="*/ 4854636 h 4888026"/>
              <a:gd name="connsiteX5" fmla="*/ 0 w 12192000"/>
              <a:gd name="connsiteY5" fmla="*/ 0 h 488802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841664 w 12192000"/>
              <a:gd name="connsiteY3" fmla="*/ 2909455 h 4888026"/>
              <a:gd name="connsiteX4" fmla="*/ 592282 w 12192000"/>
              <a:gd name="connsiteY4" fmla="*/ 4842164 h 4888026"/>
              <a:gd name="connsiteX5" fmla="*/ 0 w 12192000"/>
              <a:gd name="connsiteY5" fmla="*/ 4854636 h 4888026"/>
              <a:gd name="connsiteX6" fmla="*/ 0 w 12192000"/>
              <a:gd name="connsiteY6" fmla="*/ 0 h 4888026"/>
              <a:gd name="connsiteX0" fmla="*/ 0 w 12192000"/>
              <a:gd name="connsiteY0" fmla="*/ 0 h 4982265"/>
              <a:gd name="connsiteX1" fmla="*/ 12192000 w 12192000"/>
              <a:gd name="connsiteY1" fmla="*/ 0 h 4982265"/>
              <a:gd name="connsiteX2" fmla="*/ 12192000 w 12192000"/>
              <a:gd name="connsiteY2" fmla="*/ 4854636 h 4982265"/>
              <a:gd name="connsiteX3" fmla="*/ 7606145 w 12192000"/>
              <a:gd name="connsiteY3" fmla="*/ 3543300 h 4982265"/>
              <a:gd name="connsiteX4" fmla="*/ 841664 w 12192000"/>
              <a:gd name="connsiteY4" fmla="*/ 2909455 h 4982265"/>
              <a:gd name="connsiteX5" fmla="*/ 592282 w 12192000"/>
              <a:gd name="connsiteY5" fmla="*/ 4842164 h 4982265"/>
              <a:gd name="connsiteX6" fmla="*/ 0 w 12192000"/>
              <a:gd name="connsiteY6" fmla="*/ 4854636 h 4982265"/>
              <a:gd name="connsiteX7" fmla="*/ 0 w 12192000"/>
              <a:gd name="connsiteY7" fmla="*/ 0 h 4982265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592282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61702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6071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48146 w 12192000"/>
              <a:gd name="connsiteY5" fmla="*/ 3564082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7795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872233 w 12194382"/>
              <a:gd name="connsiteY6" fmla="*/ 4872048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45920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82443"/>
              <a:gd name="connsiteX1" fmla="*/ 12194382 w 12194382"/>
              <a:gd name="connsiteY1" fmla="*/ 0 h 5182443"/>
              <a:gd name="connsiteX2" fmla="*/ 12194382 w 12194382"/>
              <a:gd name="connsiteY2" fmla="*/ 4854636 h 5182443"/>
              <a:gd name="connsiteX3" fmla="*/ 7623248 w 12194382"/>
              <a:gd name="connsiteY3" fmla="*/ 4843680 h 5182443"/>
              <a:gd name="connsiteX4" fmla="*/ 7620433 w 12194382"/>
              <a:gd name="connsiteY4" fmla="*/ 3543300 h 5182443"/>
              <a:gd name="connsiteX5" fmla="*/ 762115 w 12194382"/>
              <a:gd name="connsiteY5" fmla="*/ 3547023 h 5182443"/>
              <a:gd name="connsiteX6" fmla="*/ 762695 w 12194382"/>
              <a:gd name="connsiteY6" fmla="*/ 4850671 h 5182443"/>
              <a:gd name="connsiteX7" fmla="*/ 0 w 12194382"/>
              <a:gd name="connsiteY7" fmla="*/ 4847509 h 5182443"/>
              <a:gd name="connsiteX8" fmla="*/ 2382 w 12194382"/>
              <a:gd name="connsiteY8" fmla="*/ 0 h 5182443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723"/>
              <a:gd name="connsiteY0" fmla="*/ 0 h 4854829"/>
              <a:gd name="connsiteX1" fmla="*/ 12194382 w 12194723"/>
              <a:gd name="connsiteY1" fmla="*/ 0 h 4854829"/>
              <a:gd name="connsiteX2" fmla="*/ 12194382 w 12194723"/>
              <a:gd name="connsiteY2" fmla="*/ 4854636 h 4854829"/>
              <a:gd name="connsiteX3" fmla="*/ 7623248 w 12194723"/>
              <a:gd name="connsiteY3" fmla="*/ 4843680 h 4854829"/>
              <a:gd name="connsiteX4" fmla="*/ 7620433 w 12194723"/>
              <a:gd name="connsiteY4" fmla="*/ 3543300 h 4854829"/>
              <a:gd name="connsiteX5" fmla="*/ 762115 w 12194723"/>
              <a:gd name="connsiteY5" fmla="*/ 3547023 h 4854829"/>
              <a:gd name="connsiteX6" fmla="*/ 762695 w 12194723"/>
              <a:gd name="connsiteY6" fmla="*/ 4850671 h 4854829"/>
              <a:gd name="connsiteX7" fmla="*/ 0 w 12194723"/>
              <a:gd name="connsiteY7" fmla="*/ 4847509 h 4854829"/>
              <a:gd name="connsiteX8" fmla="*/ 2382 w 12194723"/>
              <a:gd name="connsiteY8" fmla="*/ 0 h 4854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4723" h="4854829">
                <a:moveTo>
                  <a:pt x="2382" y="0"/>
                </a:moveTo>
                <a:lnTo>
                  <a:pt x="12194382" y="0"/>
                </a:lnTo>
                <a:cubicBezTo>
                  <a:pt x="12194382" y="1618212"/>
                  <a:pt x="12195150" y="4852730"/>
                  <a:pt x="12194382" y="4854636"/>
                </a:cubicBezTo>
                <a:cubicBezTo>
                  <a:pt x="12193614" y="4856542"/>
                  <a:pt x="7623176" y="4843704"/>
                  <a:pt x="7623248" y="4843680"/>
                </a:cubicBezTo>
                <a:cubicBezTo>
                  <a:pt x="7623320" y="4843656"/>
                  <a:pt x="7618248" y="3540554"/>
                  <a:pt x="7620433" y="3543300"/>
                </a:cubicBezTo>
                <a:cubicBezTo>
                  <a:pt x="7622618" y="3546046"/>
                  <a:pt x="3048221" y="3545782"/>
                  <a:pt x="762115" y="3547023"/>
                </a:cubicBezTo>
                <a:cubicBezTo>
                  <a:pt x="760398" y="3777370"/>
                  <a:pt x="763508" y="4852455"/>
                  <a:pt x="762695" y="4850671"/>
                </a:cubicBezTo>
                <a:cubicBezTo>
                  <a:pt x="761882" y="4848887"/>
                  <a:pt x="254232" y="4848563"/>
                  <a:pt x="0" y="4847509"/>
                </a:cubicBezTo>
                <a:lnTo>
                  <a:pt x="2382" y="0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7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145875" y="4028766"/>
            <a:ext cx="6177756" cy="865472"/>
          </a:xfrm>
          <a:noFill/>
        </p:spPr>
        <p:txBody>
          <a:bodyPr lIns="0" tIns="0" rIns="0"/>
          <a:lstStyle>
            <a:lvl1pPr>
              <a:defRPr sz="2400" kern="1200" cap="none" spc="0" baseline="0">
                <a:solidFill>
                  <a:schemeClr val="tx1"/>
                </a:solidFill>
                <a:latin typeface="ShellBold" panose="00000800000000000000" pitchFamily="50" charset="0"/>
                <a:cs typeface="Arial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145875" y="5092242"/>
            <a:ext cx="6177756" cy="7706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lang="en-GB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1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October 2022</a:t>
            </a:r>
          </a:p>
        </p:txBody>
      </p:sp>
      <p:sp>
        <p:nvSpPr>
          <p:cNvPr id="14" name="TextBox 13" descr="CONFIDENTIAL_TAG_0xFFEE">
            <a:extLst>
              <a:ext uri="{FF2B5EF4-FFF2-40B4-BE49-F238E27FC236}">
                <a16:creationId xmlns:a16="http://schemas.microsoft.com/office/drawing/2014/main" id="{3F47BA94-1FF9-42BA-A262-1F65B2ADF914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RESTRICTED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53937449"/>
      </p:ext>
    </p:extLst>
  </p:cSld>
  <p:clrMapOvr>
    <a:masterClrMapping/>
  </p:clrMapOvr>
  <p:transition/>
  <p:hf hdr="0" ftr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lang="en-US" sz="2400" b="0" kern="1200" cap="none" baseline="0" noProof="0" dirty="0" smtClean="0">
                <a:solidFill>
                  <a:schemeClr val="tx1"/>
                </a:solidFill>
                <a:latin typeface="ShellBold" panose="00000800000000000000" pitchFamily="50" charset="0"/>
                <a:ea typeface="+mj-ea"/>
                <a:cs typeface="+mj-cs"/>
              </a:defRPr>
            </a:lvl1pPr>
          </a:lstStyle>
          <a:p>
            <a:pPr lvl="0" algn="l" defTabSz="1219170" rtl="0" eaLnBrk="1" latinLnBrk="0" hangingPunct="1">
              <a:lnSpc>
                <a:spcPct val="95000"/>
              </a:lnSpc>
              <a:spcBef>
                <a:spcPct val="0"/>
              </a:spcBef>
              <a:buNone/>
            </a:pPr>
            <a:r>
              <a:rPr lang="en-GB"/>
              <a:t>Click to edit Master title style</a:t>
            </a:r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14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7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October 2022</a:t>
            </a:r>
          </a:p>
        </p:txBody>
      </p:sp>
      <p:sp>
        <p:nvSpPr>
          <p:cNvPr id="8" name="TextBox 7" descr="CONFIDENTIAL_TAG_0xFFEE">
            <a:extLst>
              <a:ext uri="{FF2B5EF4-FFF2-40B4-BE49-F238E27FC236}">
                <a16:creationId xmlns:a16="http://schemas.microsoft.com/office/drawing/2014/main" id="{7D3B3DE3-D184-4FD2-8FD3-B62462F8BB19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RESTRICTED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09623107"/>
      </p:ext>
    </p:extLst>
  </p:cSld>
  <p:clrMapOvr>
    <a:masterClrMapping/>
  </p:clrMapOvr>
  <p:transition/>
  <p:hf hdr="0" ftr="0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-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0" y="0"/>
            <a:ext cx="12194382" cy="6858000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October 2022</a:t>
            </a:r>
          </a:p>
        </p:txBody>
      </p:sp>
      <p:sp>
        <p:nvSpPr>
          <p:cNvPr id="14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1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3" name="Text Placeholder 2" descr="&lt;IGNORE&gt;" title="&lt;IGNORE&gt;"/>
          <p:cNvSpPr>
            <a:spLocks noGrp="1"/>
          </p:cNvSpPr>
          <p:nvPr>
            <p:ph type="body" sz="quarter" idx="13"/>
          </p:nvPr>
        </p:nvSpPr>
        <p:spPr>
          <a:xfrm>
            <a:off x="513179" y="1438480"/>
            <a:ext cx="11166561" cy="2861742"/>
          </a:xfrm>
        </p:spPr>
        <p:txBody>
          <a:bodyPr/>
          <a:lstStyle>
            <a:lvl1pPr>
              <a:lnSpc>
                <a:spcPct val="110000"/>
              </a:lnSpc>
              <a:defRPr lang="en-US" sz="3400" b="0" kern="1200" dirty="0" smtClean="0">
                <a:solidFill>
                  <a:schemeClr val="tx1"/>
                </a:solidFill>
                <a:latin typeface="ShellBold" panose="00000800000000000000" pitchFamily="50" charset="0"/>
                <a:ea typeface="+mn-ea"/>
                <a:cs typeface="+mn-cs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" name="TextBox 8" descr="CONFIDENTIAL_TAG_0xFFEE">
            <a:extLst>
              <a:ext uri="{FF2B5EF4-FFF2-40B4-BE49-F238E27FC236}">
                <a16:creationId xmlns:a16="http://schemas.microsoft.com/office/drawing/2014/main" id="{717EE9DD-6388-46FA-BDD2-E0BAC81CFD24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RESTRICTED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158466"/>
      </p:ext>
    </p:extLst>
  </p:cSld>
  <p:clrMapOvr>
    <a:masterClrMapping/>
  </p:clrMapOvr>
  <p:transition/>
  <p:hf hdr="0" ftr="0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&amp;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 userDrawn="1"/>
        </p:nvSpPr>
        <p:spPr bwMode="gray">
          <a:xfrm>
            <a:off x="1" y="4313784"/>
            <a:ext cx="12192000" cy="25442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sp>
        <p:nvSpPr>
          <p:cNvPr id="23" name="Rectangle 22" descr="&lt;Shell Yellow Bar&gt;" title="&lt;Shell Yellow Bar&gt;"/>
          <p:cNvSpPr/>
          <p:nvPr userDrawn="1"/>
        </p:nvSpPr>
        <p:spPr bwMode="gray">
          <a:xfrm>
            <a:off x="761993" y="1524000"/>
            <a:ext cx="1269984" cy="75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Title 1"/>
          <p:cNvSpPr>
            <a:spLocks noGrp="1"/>
          </p:cNvSpPr>
          <p:nvPr>
            <p:ph type="title"/>
          </p:nvPr>
        </p:nvSpPr>
        <p:spPr>
          <a:xfrm>
            <a:off x="763200" y="2636980"/>
            <a:ext cx="5187472" cy="136207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400" b="0" cap="none" baseline="0">
                <a:solidFill>
                  <a:schemeClr val="tx1"/>
                </a:solidFill>
                <a:latin typeface="ShellBold" panose="00000800000000000000" pitchFamily="50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5" name="Text Placeholder 2"/>
          <p:cNvSpPr>
            <a:spLocks noGrp="1"/>
          </p:cNvSpPr>
          <p:nvPr>
            <p:ph type="body" idx="1"/>
          </p:nvPr>
        </p:nvSpPr>
        <p:spPr>
          <a:xfrm>
            <a:off x="763200" y="1696947"/>
            <a:ext cx="6375761" cy="82123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800" b="0" cap="none" baseline="0">
                <a:solidFill>
                  <a:schemeClr val="tx1"/>
                </a:solidFill>
                <a:latin typeface="ShellBold" panose="00000800000000000000" pitchFamily="50" charset="0"/>
              </a:defRPr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October 2022</a:t>
            </a:r>
          </a:p>
        </p:txBody>
      </p:sp>
      <p:sp>
        <p:nvSpPr>
          <p:cNvPr id="27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US" sz="850" noProof="1">
                <a:solidFill>
                  <a:schemeClr val="tx1"/>
                </a:solidFill>
                <a:latin typeface="+mn-lt"/>
                <a:cs typeface="Arial" pitchFamily="34" charset="0"/>
              </a:rPr>
              <a:t>Shell Petroleum Development Company of Nigeria</a:t>
            </a:r>
            <a:endParaRPr lang="en-GB" sz="850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grpSp>
        <p:nvGrpSpPr>
          <p:cNvPr id="31" name="Group 30"/>
          <p:cNvGrpSpPr/>
          <p:nvPr userDrawn="1"/>
        </p:nvGrpSpPr>
        <p:grpSpPr bwMode="gray">
          <a:xfrm>
            <a:off x="6450013" y="2557463"/>
            <a:ext cx="5197475" cy="1917700"/>
            <a:chOff x="6450013" y="2557463"/>
            <a:chExt cx="5197475" cy="1917700"/>
          </a:xfrm>
        </p:grpSpPr>
        <p:sp>
          <p:nvSpPr>
            <p:cNvPr id="32" name="Freeform 6"/>
            <p:cNvSpPr>
              <a:spLocks noEditPoints="1"/>
            </p:cNvSpPr>
            <p:nvPr userDrawn="1"/>
          </p:nvSpPr>
          <p:spPr bwMode="gray">
            <a:xfrm>
              <a:off x="6450013" y="2557463"/>
              <a:ext cx="2005013" cy="1917700"/>
            </a:xfrm>
            <a:custGeom>
              <a:avLst/>
              <a:gdLst>
                <a:gd name="T0" fmla="*/ 274 w 346"/>
                <a:gd name="T1" fmla="*/ 331 h 331"/>
                <a:gd name="T2" fmla="*/ 250 w 346"/>
                <a:gd name="T3" fmla="*/ 302 h 331"/>
                <a:gd name="T4" fmla="*/ 167 w 346"/>
                <a:gd name="T5" fmla="*/ 322 h 331"/>
                <a:gd name="T6" fmla="*/ 0 w 346"/>
                <a:gd name="T7" fmla="*/ 156 h 331"/>
                <a:gd name="T8" fmla="*/ 167 w 346"/>
                <a:gd name="T9" fmla="*/ 0 h 331"/>
                <a:gd name="T10" fmla="*/ 334 w 346"/>
                <a:gd name="T11" fmla="*/ 162 h 331"/>
                <a:gd name="T12" fmla="*/ 295 w 346"/>
                <a:gd name="T13" fmla="*/ 268 h 331"/>
                <a:gd name="T14" fmla="*/ 346 w 346"/>
                <a:gd name="T15" fmla="*/ 320 h 331"/>
                <a:gd name="T16" fmla="*/ 274 w 346"/>
                <a:gd name="T17" fmla="*/ 331 h 331"/>
                <a:gd name="T18" fmla="*/ 238 w 346"/>
                <a:gd name="T19" fmla="*/ 207 h 331"/>
                <a:gd name="T20" fmla="*/ 252 w 346"/>
                <a:gd name="T21" fmla="*/ 162 h 331"/>
                <a:gd name="T22" fmla="*/ 167 w 346"/>
                <a:gd name="T23" fmla="*/ 76 h 331"/>
                <a:gd name="T24" fmla="*/ 82 w 346"/>
                <a:gd name="T25" fmla="*/ 156 h 331"/>
                <a:gd name="T26" fmla="*/ 167 w 346"/>
                <a:gd name="T27" fmla="*/ 246 h 331"/>
                <a:gd name="T28" fmla="*/ 191 w 346"/>
                <a:gd name="T29" fmla="*/ 242 h 331"/>
                <a:gd name="T30" fmla="*/ 143 w 346"/>
                <a:gd name="T31" fmla="*/ 194 h 331"/>
                <a:gd name="T32" fmla="*/ 217 w 346"/>
                <a:gd name="T33" fmla="*/ 185 h 331"/>
                <a:gd name="T34" fmla="*/ 238 w 346"/>
                <a:gd name="T35" fmla="*/ 207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46" h="331">
                  <a:moveTo>
                    <a:pt x="274" y="331"/>
                  </a:moveTo>
                  <a:cubicBezTo>
                    <a:pt x="250" y="302"/>
                    <a:pt x="250" y="302"/>
                    <a:pt x="250" y="302"/>
                  </a:cubicBezTo>
                  <a:cubicBezTo>
                    <a:pt x="227" y="316"/>
                    <a:pt x="199" y="322"/>
                    <a:pt x="167" y="322"/>
                  </a:cubicBezTo>
                  <a:cubicBezTo>
                    <a:pt x="70" y="322"/>
                    <a:pt x="0" y="253"/>
                    <a:pt x="0" y="156"/>
                  </a:cubicBezTo>
                  <a:cubicBezTo>
                    <a:pt x="0" y="64"/>
                    <a:pt x="80" y="0"/>
                    <a:pt x="167" y="0"/>
                  </a:cubicBezTo>
                  <a:cubicBezTo>
                    <a:pt x="261" y="0"/>
                    <a:pt x="334" y="64"/>
                    <a:pt x="334" y="162"/>
                  </a:cubicBezTo>
                  <a:cubicBezTo>
                    <a:pt x="334" y="202"/>
                    <a:pt x="320" y="237"/>
                    <a:pt x="295" y="268"/>
                  </a:cubicBezTo>
                  <a:cubicBezTo>
                    <a:pt x="346" y="320"/>
                    <a:pt x="346" y="320"/>
                    <a:pt x="346" y="320"/>
                  </a:cubicBezTo>
                  <a:lnTo>
                    <a:pt x="274" y="331"/>
                  </a:lnTo>
                  <a:close/>
                  <a:moveTo>
                    <a:pt x="238" y="207"/>
                  </a:moveTo>
                  <a:cubicBezTo>
                    <a:pt x="247" y="194"/>
                    <a:pt x="252" y="178"/>
                    <a:pt x="252" y="162"/>
                  </a:cubicBezTo>
                  <a:cubicBezTo>
                    <a:pt x="252" y="117"/>
                    <a:pt x="215" y="76"/>
                    <a:pt x="167" y="76"/>
                  </a:cubicBezTo>
                  <a:cubicBezTo>
                    <a:pt x="121" y="76"/>
                    <a:pt x="82" y="114"/>
                    <a:pt x="82" y="156"/>
                  </a:cubicBezTo>
                  <a:cubicBezTo>
                    <a:pt x="82" y="208"/>
                    <a:pt x="121" y="246"/>
                    <a:pt x="167" y="246"/>
                  </a:cubicBezTo>
                  <a:cubicBezTo>
                    <a:pt x="175" y="246"/>
                    <a:pt x="183" y="245"/>
                    <a:pt x="191" y="242"/>
                  </a:cubicBezTo>
                  <a:cubicBezTo>
                    <a:pt x="143" y="194"/>
                    <a:pt x="143" y="194"/>
                    <a:pt x="143" y="194"/>
                  </a:cubicBezTo>
                  <a:cubicBezTo>
                    <a:pt x="217" y="185"/>
                    <a:pt x="217" y="185"/>
                    <a:pt x="217" y="185"/>
                  </a:cubicBezTo>
                  <a:lnTo>
                    <a:pt x="238" y="20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" name="Freeform 7"/>
            <p:cNvSpPr>
              <a:spLocks noEditPoints="1"/>
            </p:cNvSpPr>
            <p:nvPr userDrawn="1"/>
          </p:nvSpPr>
          <p:spPr bwMode="gray">
            <a:xfrm>
              <a:off x="8426451" y="2586038"/>
              <a:ext cx="1441450" cy="1814513"/>
            </a:xfrm>
            <a:custGeom>
              <a:avLst/>
              <a:gdLst>
                <a:gd name="T0" fmla="*/ 190 w 249"/>
                <a:gd name="T1" fmla="*/ 257 h 313"/>
                <a:gd name="T2" fmla="*/ 79 w 249"/>
                <a:gd name="T3" fmla="*/ 313 h 313"/>
                <a:gd name="T4" fmla="*/ 0 w 249"/>
                <a:gd name="T5" fmla="*/ 233 h 313"/>
                <a:gd name="T6" fmla="*/ 92 w 249"/>
                <a:gd name="T7" fmla="*/ 124 h 313"/>
                <a:gd name="T8" fmla="*/ 60 w 249"/>
                <a:gd name="T9" fmla="*/ 58 h 313"/>
                <a:gd name="T10" fmla="*/ 119 w 249"/>
                <a:gd name="T11" fmla="*/ 0 h 313"/>
                <a:gd name="T12" fmla="*/ 174 w 249"/>
                <a:gd name="T13" fmla="*/ 56 h 313"/>
                <a:gd name="T14" fmla="*/ 117 w 249"/>
                <a:gd name="T15" fmla="*/ 130 h 313"/>
                <a:gd name="T16" fmla="*/ 192 w 249"/>
                <a:gd name="T17" fmla="*/ 232 h 313"/>
                <a:gd name="T18" fmla="*/ 230 w 249"/>
                <a:gd name="T19" fmla="*/ 190 h 313"/>
                <a:gd name="T20" fmla="*/ 245 w 249"/>
                <a:gd name="T21" fmla="*/ 198 h 313"/>
                <a:gd name="T22" fmla="*/ 203 w 249"/>
                <a:gd name="T23" fmla="*/ 246 h 313"/>
                <a:gd name="T24" fmla="*/ 249 w 249"/>
                <a:gd name="T25" fmla="*/ 307 h 313"/>
                <a:gd name="T26" fmla="*/ 228 w 249"/>
                <a:gd name="T27" fmla="*/ 307 h 313"/>
                <a:gd name="T28" fmla="*/ 190 w 249"/>
                <a:gd name="T29" fmla="*/ 257 h 313"/>
                <a:gd name="T30" fmla="*/ 84 w 249"/>
                <a:gd name="T31" fmla="*/ 152 h 313"/>
                <a:gd name="T32" fmla="*/ 19 w 249"/>
                <a:gd name="T33" fmla="*/ 231 h 313"/>
                <a:gd name="T34" fmla="*/ 79 w 249"/>
                <a:gd name="T35" fmla="*/ 295 h 313"/>
                <a:gd name="T36" fmla="*/ 179 w 249"/>
                <a:gd name="T37" fmla="*/ 242 h 313"/>
                <a:gd name="T38" fmla="*/ 103 w 249"/>
                <a:gd name="T39" fmla="*/ 139 h 313"/>
                <a:gd name="T40" fmla="*/ 84 w 249"/>
                <a:gd name="T41" fmla="*/ 152 h 313"/>
                <a:gd name="T42" fmla="*/ 79 w 249"/>
                <a:gd name="T43" fmla="*/ 60 h 313"/>
                <a:gd name="T44" fmla="*/ 106 w 249"/>
                <a:gd name="T45" fmla="*/ 115 h 313"/>
                <a:gd name="T46" fmla="*/ 154 w 249"/>
                <a:gd name="T47" fmla="*/ 55 h 313"/>
                <a:gd name="T48" fmla="*/ 118 w 249"/>
                <a:gd name="T49" fmla="*/ 18 h 313"/>
                <a:gd name="T50" fmla="*/ 79 w 249"/>
                <a:gd name="T51" fmla="*/ 60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49" h="313">
                  <a:moveTo>
                    <a:pt x="190" y="257"/>
                  </a:moveTo>
                  <a:cubicBezTo>
                    <a:pt x="156" y="285"/>
                    <a:pt x="118" y="313"/>
                    <a:pt x="79" y="313"/>
                  </a:cubicBezTo>
                  <a:cubicBezTo>
                    <a:pt x="34" y="313"/>
                    <a:pt x="0" y="277"/>
                    <a:pt x="0" y="233"/>
                  </a:cubicBezTo>
                  <a:cubicBezTo>
                    <a:pt x="0" y="181"/>
                    <a:pt x="50" y="150"/>
                    <a:pt x="92" y="124"/>
                  </a:cubicBezTo>
                  <a:cubicBezTo>
                    <a:pt x="78" y="104"/>
                    <a:pt x="60" y="84"/>
                    <a:pt x="60" y="58"/>
                  </a:cubicBezTo>
                  <a:cubicBezTo>
                    <a:pt x="60" y="26"/>
                    <a:pt x="87" y="0"/>
                    <a:pt x="119" y="0"/>
                  </a:cubicBezTo>
                  <a:cubicBezTo>
                    <a:pt x="150" y="0"/>
                    <a:pt x="174" y="25"/>
                    <a:pt x="174" y="56"/>
                  </a:cubicBezTo>
                  <a:cubicBezTo>
                    <a:pt x="174" y="90"/>
                    <a:pt x="146" y="110"/>
                    <a:pt x="117" y="130"/>
                  </a:cubicBezTo>
                  <a:cubicBezTo>
                    <a:pt x="192" y="232"/>
                    <a:pt x="192" y="232"/>
                    <a:pt x="192" y="232"/>
                  </a:cubicBezTo>
                  <a:cubicBezTo>
                    <a:pt x="230" y="190"/>
                    <a:pt x="230" y="190"/>
                    <a:pt x="230" y="190"/>
                  </a:cubicBezTo>
                  <a:cubicBezTo>
                    <a:pt x="245" y="198"/>
                    <a:pt x="245" y="198"/>
                    <a:pt x="245" y="198"/>
                  </a:cubicBezTo>
                  <a:cubicBezTo>
                    <a:pt x="203" y="246"/>
                    <a:pt x="203" y="246"/>
                    <a:pt x="203" y="246"/>
                  </a:cubicBezTo>
                  <a:cubicBezTo>
                    <a:pt x="249" y="307"/>
                    <a:pt x="249" y="307"/>
                    <a:pt x="249" y="307"/>
                  </a:cubicBezTo>
                  <a:cubicBezTo>
                    <a:pt x="228" y="307"/>
                    <a:pt x="228" y="307"/>
                    <a:pt x="228" y="307"/>
                  </a:cubicBezTo>
                  <a:lnTo>
                    <a:pt x="190" y="257"/>
                  </a:lnTo>
                  <a:close/>
                  <a:moveTo>
                    <a:pt x="84" y="152"/>
                  </a:moveTo>
                  <a:cubicBezTo>
                    <a:pt x="55" y="170"/>
                    <a:pt x="19" y="193"/>
                    <a:pt x="19" y="231"/>
                  </a:cubicBezTo>
                  <a:cubicBezTo>
                    <a:pt x="19" y="265"/>
                    <a:pt x="44" y="295"/>
                    <a:pt x="79" y="295"/>
                  </a:cubicBezTo>
                  <a:cubicBezTo>
                    <a:pt x="114" y="295"/>
                    <a:pt x="151" y="265"/>
                    <a:pt x="179" y="242"/>
                  </a:cubicBezTo>
                  <a:cubicBezTo>
                    <a:pt x="103" y="139"/>
                    <a:pt x="103" y="139"/>
                    <a:pt x="103" y="139"/>
                  </a:cubicBezTo>
                  <a:lnTo>
                    <a:pt x="84" y="152"/>
                  </a:lnTo>
                  <a:close/>
                  <a:moveTo>
                    <a:pt x="79" y="60"/>
                  </a:moveTo>
                  <a:cubicBezTo>
                    <a:pt x="79" y="81"/>
                    <a:pt x="95" y="97"/>
                    <a:pt x="106" y="115"/>
                  </a:cubicBezTo>
                  <a:cubicBezTo>
                    <a:pt x="127" y="99"/>
                    <a:pt x="154" y="86"/>
                    <a:pt x="154" y="55"/>
                  </a:cubicBezTo>
                  <a:cubicBezTo>
                    <a:pt x="154" y="35"/>
                    <a:pt x="138" y="18"/>
                    <a:pt x="118" y="18"/>
                  </a:cubicBezTo>
                  <a:cubicBezTo>
                    <a:pt x="96" y="18"/>
                    <a:pt x="79" y="39"/>
                    <a:pt x="79" y="6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" name="Freeform 8"/>
            <p:cNvSpPr>
              <a:spLocks noEditPoints="1"/>
            </p:cNvSpPr>
            <p:nvPr userDrawn="1"/>
          </p:nvSpPr>
          <p:spPr bwMode="gray">
            <a:xfrm>
              <a:off x="9821863" y="2614613"/>
              <a:ext cx="1825625" cy="1751013"/>
            </a:xfrm>
            <a:custGeom>
              <a:avLst/>
              <a:gdLst>
                <a:gd name="T0" fmla="*/ 380 w 1150"/>
                <a:gd name="T1" fmla="*/ 913 h 1103"/>
                <a:gd name="T2" fmla="*/ 303 w 1150"/>
                <a:gd name="T3" fmla="*/ 1103 h 1103"/>
                <a:gd name="T4" fmla="*/ 0 w 1150"/>
                <a:gd name="T5" fmla="*/ 1103 h 1103"/>
                <a:gd name="T6" fmla="*/ 424 w 1150"/>
                <a:gd name="T7" fmla="*/ 0 h 1103"/>
                <a:gd name="T8" fmla="*/ 734 w 1150"/>
                <a:gd name="T9" fmla="*/ 0 h 1103"/>
                <a:gd name="T10" fmla="*/ 1150 w 1150"/>
                <a:gd name="T11" fmla="*/ 1103 h 1103"/>
                <a:gd name="T12" fmla="*/ 843 w 1150"/>
                <a:gd name="T13" fmla="*/ 1103 h 1103"/>
                <a:gd name="T14" fmla="*/ 774 w 1150"/>
                <a:gd name="T15" fmla="*/ 913 h 1103"/>
                <a:gd name="T16" fmla="*/ 380 w 1150"/>
                <a:gd name="T17" fmla="*/ 913 h 1103"/>
                <a:gd name="T18" fmla="*/ 581 w 1150"/>
                <a:gd name="T19" fmla="*/ 344 h 1103"/>
                <a:gd name="T20" fmla="*/ 577 w 1150"/>
                <a:gd name="T21" fmla="*/ 344 h 1103"/>
                <a:gd name="T22" fmla="*/ 456 w 1150"/>
                <a:gd name="T23" fmla="*/ 694 h 1103"/>
                <a:gd name="T24" fmla="*/ 697 w 1150"/>
                <a:gd name="T25" fmla="*/ 694 h 1103"/>
                <a:gd name="T26" fmla="*/ 581 w 1150"/>
                <a:gd name="T27" fmla="*/ 344 h 1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50" h="1103">
                  <a:moveTo>
                    <a:pt x="380" y="913"/>
                  </a:moveTo>
                  <a:lnTo>
                    <a:pt x="303" y="1103"/>
                  </a:lnTo>
                  <a:lnTo>
                    <a:pt x="0" y="1103"/>
                  </a:lnTo>
                  <a:lnTo>
                    <a:pt x="424" y="0"/>
                  </a:lnTo>
                  <a:lnTo>
                    <a:pt x="734" y="0"/>
                  </a:lnTo>
                  <a:lnTo>
                    <a:pt x="1150" y="1103"/>
                  </a:lnTo>
                  <a:lnTo>
                    <a:pt x="843" y="1103"/>
                  </a:lnTo>
                  <a:lnTo>
                    <a:pt x="774" y="913"/>
                  </a:lnTo>
                  <a:lnTo>
                    <a:pt x="380" y="913"/>
                  </a:lnTo>
                  <a:close/>
                  <a:moveTo>
                    <a:pt x="581" y="344"/>
                  </a:moveTo>
                  <a:lnTo>
                    <a:pt x="577" y="344"/>
                  </a:lnTo>
                  <a:lnTo>
                    <a:pt x="456" y="694"/>
                  </a:lnTo>
                  <a:lnTo>
                    <a:pt x="697" y="694"/>
                  </a:lnTo>
                  <a:lnTo>
                    <a:pt x="581" y="34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59217798"/>
      </p:ext>
    </p:extLst>
  </p:cSld>
  <p:clrMapOvr>
    <a:masterClrMapping/>
  </p:clrMapOvr>
  <p:transition/>
  <p:hf hdr="0" ftr="0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(Mandator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0208" y="1257010"/>
            <a:ext cx="4316400" cy="431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4530805"/>
      </p:ext>
    </p:extLst>
  </p:cSld>
  <p:clrMapOvr>
    <a:masterClrMapping/>
  </p:clrMapOvr>
  <p:transition/>
  <p:hf hdr="0" ft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  <a:latin typeface="ShellBold" panose="00000800000000000000" pitchFamily="50" charset="0"/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1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59000" indent="-228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3pPr>
            <a:lvl4pPr marL="687600" indent="-228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4pPr>
            <a:lvl5pPr marL="890800" indent="-2032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5pPr>
            <a:lvl6pPr marL="1043200" indent="-1524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October 2022</a:t>
            </a:r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12" name="TextBox 11" descr="CONFIDENTIAL_TAG_0xFFEE">
            <a:extLst>
              <a:ext uri="{FF2B5EF4-FFF2-40B4-BE49-F238E27FC236}">
                <a16:creationId xmlns:a16="http://schemas.microsoft.com/office/drawing/2014/main" id="{9BE712EE-406B-4E22-A6E6-7F5D7E3AC121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RESTRICTED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20430656"/>
      </p:ext>
    </p:extLst>
  </p:cSld>
  <p:clrMapOvr>
    <a:masterClrMapping/>
  </p:clrMapOvr>
  <p:transition/>
  <p:hf hdr="0" ft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81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1" y="0"/>
            <a:ext cx="12194382" cy="6858000"/>
          </a:xfrm>
          <a:custGeom>
            <a:avLst/>
            <a:gdLst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63913 w 12194723"/>
              <a:gd name="connsiteY5" fmla="*/ 763913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63913 w 12194723"/>
              <a:gd name="connsiteY9" fmla="*/ 763913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97906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3336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18431 w 12194723"/>
              <a:gd name="connsiteY7" fmla="*/ 6359075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482698 w 12194723"/>
              <a:gd name="connsiteY5" fmla="*/ 482850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482698 w 12194723"/>
              <a:gd name="connsiteY9" fmla="*/ 48285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7622163 w 12194723"/>
              <a:gd name="connsiteY7" fmla="*/ 6355342 h 6857999"/>
              <a:gd name="connsiteX8" fmla="*/ 1788474 w 12194723"/>
              <a:gd name="connsiteY8" fmla="*/ 508608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63833 w 12194723"/>
              <a:gd name="connsiteY8" fmla="*/ 5061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96313 w 12194723"/>
              <a:gd name="connsiteY8" fmla="*/ 486123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66332 w 12194723"/>
              <a:gd name="connsiteY8" fmla="*/ 381191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6445 w 12194723"/>
              <a:gd name="connsiteY8" fmla="*/ 558575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6109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36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36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53965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4 w 12194723"/>
              <a:gd name="connsiteY8" fmla="*/ 503609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5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4723" h="6857999">
                <a:moveTo>
                  <a:pt x="0" y="0"/>
                </a:moveTo>
                <a:lnTo>
                  <a:pt x="12194723" y="0"/>
                </a:lnTo>
                <a:lnTo>
                  <a:pt x="12194723" y="6857999"/>
                </a:lnTo>
                <a:lnTo>
                  <a:pt x="0" y="6857999"/>
                </a:lnTo>
                <a:lnTo>
                  <a:pt x="0" y="0"/>
                </a:lnTo>
                <a:close/>
                <a:moveTo>
                  <a:pt x="508891" y="511425"/>
                </a:moveTo>
                <a:cubicBezTo>
                  <a:pt x="509626" y="566329"/>
                  <a:pt x="510362" y="528366"/>
                  <a:pt x="511097" y="583270"/>
                </a:cubicBezTo>
                <a:lnTo>
                  <a:pt x="1774181" y="585272"/>
                </a:lnTo>
                <a:cubicBezTo>
                  <a:pt x="1771177" y="584735"/>
                  <a:pt x="1784691" y="508891"/>
                  <a:pt x="1769076" y="508490"/>
                </a:cubicBezTo>
                <a:cubicBezTo>
                  <a:pt x="1753461" y="508089"/>
                  <a:pt x="928953" y="510447"/>
                  <a:pt x="508891" y="511425"/>
                </a:cubicBezTo>
                <a:close/>
              </a:path>
            </a:pathLst>
          </a:custGeom>
          <a:noFill/>
          <a:ln w="317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5468938" cy="4830761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03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3pPr>
            <a:lvl4pPr marL="633600" indent="-2304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4pPr>
            <a:lvl5pPr marL="835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5pPr>
            <a:lvl6pPr marL="986400" indent="-1512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7th November, 2018</a:t>
            </a:r>
            <a:endParaRPr lang="en-GB" dirty="0"/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5869707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813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Hig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sz="2400" b="1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400"/>
            </a:lvl1pPr>
            <a:lvl2pPr marL="176400" indent="-176400" defTabSz="357708">
              <a:lnSpc>
                <a:spcPct val="140000"/>
              </a:lnSpc>
              <a:spcBef>
                <a:spcPts val="0"/>
              </a:spcBef>
              <a:defRPr sz="1400"/>
            </a:lvl2pPr>
            <a:lvl3pPr marL="411163" indent="-195263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400"/>
            </a:lvl3pPr>
            <a:lvl4pPr marL="587563" indent="-1764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400"/>
            </a:lvl4pPr>
            <a:lvl5pPr marL="738763" indent="-1512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tabLst/>
              <a:defRPr sz="1200"/>
            </a:lvl5pPr>
            <a:lvl6pPr marL="879163" indent="-1404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1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7th November, 2018</a:t>
            </a:r>
            <a:endParaRPr lang="en-GB" dirty="0"/>
          </a:p>
        </p:txBody>
      </p:sp>
      <p:sp>
        <p:nvSpPr>
          <p:cNvPr id="1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 </a:t>
            </a:r>
            <a:endParaRPr lang="en-GB" dirty="0"/>
          </a:p>
        </p:txBody>
      </p:sp>
      <p:sp>
        <p:nvSpPr>
          <p:cNvPr id="3" name="TextBox 2" descr="CONFIDENTIAL_TAG_0xFFEE"/>
          <p:cNvSpPr txBox="1"/>
          <p:nvPr userDrawn="1"/>
        </p:nvSpPr>
        <p:spPr bwMode="auto">
          <a:xfrm>
            <a:off x="6105231" y="4859147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41488072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16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sz="2400" b="1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Content Placeholder 14"/>
          <p:cNvSpPr>
            <a:spLocks noGrp="1"/>
          </p:cNvSpPr>
          <p:nvPr>
            <p:ph sz="quarter" idx="13"/>
          </p:nvPr>
        </p:nvSpPr>
        <p:spPr>
          <a:xfrm>
            <a:off x="6215064" y="1528764"/>
            <a:ext cx="5464174" cy="4830761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/>
            </a:lvl1pPr>
            <a:lvl2pPr marL="230400" indent="-2304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/>
            </a:lvl2pPr>
            <a:lvl3pPr marL="403200" indent="-201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3pPr>
            <a:lvl4pPr marL="633600" indent="-230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4pPr>
            <a:lvl5pPr marL="835200" indent="-201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600"/>
            </a:lvl5pPr>
            <a:lvl6pPr marL="986400" indent="-151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2"/>
            <a:ext cx="5468938" cy="4830763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/>
            </a:lvl1pPr>
            <a:lvl2pPr marL="230400" indent="-2304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/>
            </a:lvl2pPr>
            <a:lvl3pPr marL="403200" indent="-201600"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3pPr>
            <a:lvl4pPr marL="633600" indent="-230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4pPr>
            <a:lvl5pPr marL="835200" indent="-201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600"/>
            </a:lvl5pPr>
            <a:lvl6pPr marL="986400" indent="-151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7th November, 2018</a:t>
            </a:r>
            <a:endParaRPr lang="en-GB" dirty="0"/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 </a:t>
            </a:r>
            <a:endParaRPr lang="en-GB" dirty="0"/>
          </a:p>
        </p:txBody>
      </p:sp>
      <p:sp>
        <p:nvSpPr>
          <p:cNvPr id="3" name="TextBox 2" descr="CONFIDENTIAL_TAG_0xFFEE"/>
          <p:cNvSpPr txBox="1"/>
          <p:nvPr userDrawn="1"/>
        </p:nvSpPr>
        <p:spPr bwMode="auto">
          <a:xfrm>
            <a:off x="6105231" y="4859147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09052168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765">
          <p15:clr>
            <a:srgbClr val="FBAE40"/>
          </p15:clr>
        </p15:guide>
        <p15:guide id="3" pos="3915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- Hig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dirty="0" smtClean="0"/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Content Placeholder 14"/>
          <p:cNvSpPr>
            <a:spLocks noGrp="1"/>
          </p:cNvSpPr>
          <p:nvPr>
            <p:ph sz="quarter" idx="13"/>
          </p:nvPr>
        </p:nvSpPr>
        <p:spPr>
          <a:xfrm>
            <a:off x="6215063" y="1528764"/>
            <a:ext cx="5464175" cy="4830762"/>
          </a:xfrm>
        </p:spPr>
        <p:txBody>
          <a:bodyPr/>
          <a:lstStyle>
            <a:lvl1pPr marL="0" indent="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400"/>
            </a:lvl1pPr>
            <a:lvl2pPr marL="176400" indent="-176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400"/>
            </a:lvl2pPr>
            <a:lvl3pPr marL="410400" indent="-194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3pPr>
            <a:lvl4pPr marL="586800" indent="-176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4pPr>
            <a:lvl5pPr marL="738000" indent="-1512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5pPr>
            <a:lvl6pPr marL="878400" indent="-140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tabLst/>
              <a:defRPr sz="11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2"/>
            <a:ext cx="5468938" cy="4830763"/>
          </a:xfrm>
        </p:spPr>
        <p:txBody>
          <a:bodyPr/>
          <a:lstStyle>
            <a:lvl1pPr marL="0" indent="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400"/>
            </a:lvl1pPr>
            <a:lvl2pPr marL="176400" indent="-17640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400"/>
            </a:lvl2pPr>
            <a:lvl3pPr marL="410400" indent="-194400">
              <a:lnSpc>
                <a:spcPct val="140000"/>
              </a:lnSpc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400"/>
            </a:lvl3pPr>
            <a:lvl4pPr marL="586800" indent="-176400">
              <a:lnSpc>
                <a:spcPct val="140000"/>
              </a:lnSpc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4pPr>
            <a:lvl5pPr marL="738000" indent="-1512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5pPr>
            <a:lvl6pPr marL="878400" indent="-140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1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7th November, 2018</a:t>
            </a:r>
            <a:endParaRPr lang="en-GB" dirty="0"/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92389157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4.xml"/><Relationship Id="rId18" Type="http://schemas.openxmlformats.org/officeDocument/2006/relationships/slideLayout" Target="../slideLayouts/slideLayout39.xml"/><Relationship Id="rId3" Type="http://schemas.openxmlformats.org/officeDocument/2006/relationships/slideLayout" Target="../slideLayouts/slideLayout24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17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3.xml"/><Relationship Id="rId16" Type="http://schemas.openxmlformats.org/officeDocument/2006/relationships/slideLayout" Target="../slideLayouts/slideLayout37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5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31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slideLayout" Target="../slideLayouts/slideLayout35.xml"/><Relationship Id="rId22" Type="http://schemas.openxmlformats.org/officeDocument/2006/relationships/image" Target="../media/image4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slideLayout" Target="../slideLayouts/slideLayout52.xml"/><Relationship Id="rId18" Type="http://schemas.openxmlformats.org/officeDocument/2006/relationships/theme" Target="../theme/theme3.xml"/><Relationship Id="rId3" Type="http://schemas.openxmlformats.org/officeDocument/2006/relationships/slideLayout" Target="../slideLayouts/slideLayout42.xml"/><Relationship Id="rId21" Type="http://schemas.openxmlformats.org/officeDocument/2006/relationships/image" Target="../media/image5.emf"/><Relationship Id="rId7" Type="http://schemas.openxmlformats.org/officeDocument/2006/relationships/slideLayout" Target="../slideLayouts/slideLayout46.xml"/><Relationship Id="rId12" Type="http://schemas.openxmlformats.org/officeDocument/2006/relationships/slideLayout" Target="../slideLayouts/slideLayout51.xml"/><Relationship Id="rId17" Type="http://schemas.openxmlformats.org/officeDocument/2006/relationships/slideLayout" Target="../slideLayouts/slideLayout56.xml"/><Relationship Id="rId2" Type="http://schemas.openxmlformats.org/officeDocument/2006/relationships/slideLayout" Target="../slideLayouts/slideLayout41.xml"/><Relationship Id="rId16" Type="http://schemas.openxmlformats.org/officeDocument/2006/relationships/slideLayout" Target="../slideLayouts/slideLayout55.xml"/><Relationship Id="rId20" Type="http://schemas.openxmlformats.org/officeDocument/2006/relationships/oleObject" Target="../embeddings/oleObject2.bin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5" Type="http://schemas.openxmlformats.org/officeDocument/2006/relationships/slideLayout" Target="../slideLayouts/slideLayout44.xml"/><Relationship Id="rId15" Type="http://schemas.openxmlformats.org/officeDocument/2006/relationships/slideLayout" Target="../slideLayouts/slideLayout54.xml"/><Relationship Id="rId10" Type="http://schemas.openxmlformats.org/officeDocument/2006/relationships/slideLayout" Target="../slideLayouts/slideLayout49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Relationship Id="rId14" Type="http://schemas.openxmlformats.org/officeDocument/2006/relationships/slideLayout" Target="../slideLayouts/slideLayout5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8000" y="1528763"/>
            <a:ext cx="11171238" cy="48307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401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Rectangle 3" descr="&lt;Shell Yellow Bar&gt;" title="&lt;Shell Yellow Bar&gt;"/>
          <p:cNvSpPr/>
          <p:nvPr/>
        </p:nvSpPr>
        <p:spPr bwMode="gray">
          <a:xfrm>
            <a:off x="508010" y="508000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8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 </a:t>
            </a:r>
            <a:endParaRPr lang="en-GB" dirty="0"/>
          </a:p>
        </p:txBody>
      </p:sp>
      <p:sp>
        <p:nvSpPr>
          <p:cNvPr id="83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7th November, 2018</a:t>
            </a:r>
            <a:endParaRPr lang="en-GB" dirty="0"/>
          </a:p>
        </p:txBody>
      </p:sp>
      <p:sp>
        <p:nvSpPr>
          <p:cNvPr id="85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4" name="Text Box 11" descr="&lt;COMPANY_NAME&gt;&#10;"/>
          <p:cNvSpPr txBox="1">
            <a:spLocks noChangeArrowheads="1"/>
          </p:cNvSpPr>
          <p:nvPr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9" name="TextBox 8" descr="CONFIDENTIAL_TAG_0xFFEE"/>
          <p:cNvSpPr txBox="1"/>
          <p:nvPr/>
        </p:nvSpPr>
        <p:spPr bwMode="auto">
          <a:xfrm>
            <a:off x="8466411" y="6469199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8154854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  <p:sldLayoutId id="2147483710" r:id="rId9"/>
    <p:sldLayoutId id="2147483711" r:id="rId10"/>
    <p:sldLayoutId id="2147483712" r:id="rId11"/>
    <p:sldLayoutId id="2147483713" r:id="rId12"/>
    <p:sldLayoutId id="2147483714" r:id="rId13"/>
    <p:sldLayoutId id="2147483715" r:id="rId14"/>
    <p:sldLayoutId id="2147483716" r:id="rId15"/>
    <p:sldLayoutId id="2147483717" r:id="rId16"/>
    <p:sldLayoutId id="2147483718" r:id="rId17"/>
    <p:sldLayoutId id="2147483719" r:id="rId18"/>
    <p:sldLayoutId id="2147483720" r:id="rId19"/>
    <p:sldLayoutId id="2147483721" r:id="rId20"/>
    <p:sldLayoutId id="2147483722" r:id="rId21"/>
  </p:sldLayoutIdLst>
  <p:transition>
    <p:fade/>
  </p:transition>
  <p:hf hdr="0"/>
  <p:txStyles>
    <p:titleStyle>
      <a:lvl1pPr algn="l" defTabSz="1219170" rtl="0" eaLnBrk="1" latinLnBrk="0" hangingPunct="1">
        <a:lnSpc>
          <a:spcPct val="100000"/>
        </a:lnSpc>
        <a:spcBef>
          <a:spcPct val="0"/>
        </a:spcBef>
        <a:buNone/>
        <a:defRPr sz="2400" b="0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85000"/>
        <a:buFont typeface="Wingdings" pitchFamily="2" charset="2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30400" indent="-2304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85000"/>
        <a:buFont typeface="Wingdings" pitchFamily="2" charset="2"/>
        <a:buChar char="n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403200" indent="-2016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633600" indent="-2304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800" b="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835200" indent="-2016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986400" indent="-1512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320">
          <p15:clr>
            <a:srgbClr val="F26B43"/>
          </p15:clr>
        </p15:guide>
        <p15:guide id="3" pos="7357">
          <p15:clr>
            <a:srgbClr val="F26B43"/>
          </p15:clr>
        </p15:guide>
        <p15:guide id="4" orient="horz" pos="444">
          <p15:clr>
            <a:srgbClr val="F26B43"/>
          </p15:clr>
        </p15:guide>
        <p15:guide id="5" orient="horz" pos="963">
          <p15:clr>
            <a:srgbClr val="F26B43"/>
          </p15:clr>
        </p15:guide>
        <p15:guide id="6" orient="horz" pos="928">
          <p15:clr>
            <a:srgbClr val="F26B43"/>
          </p15:clr>
        </p15:guide>
        <p15:guide id="7" orient="horz" pos="4071">
          <p15:clr>
            <a:srgbClr val="F26B43"/>
          </p15:clr>
        </p15:guide>
        <p15:guide id="8" orient="horz" pos="4006">
          <p15:clr>
            <a:srgbClr val="F26B43"/>
          </p15:clr>
        </p15:guide>
        <p15:guide id="9" pos="3765">
          <p15:clr>
            <a:srgbClr val="F26B43"/>
          </p15:clr>
        </p15:guide>
        <p15:guide id="10" pos="3915">
          <p15:clr>
            <a:srgbClr val="F26B43"/>
          </p15:clr>
        </p15:guide>
        <p15:guide id="11" orient="horz" pos="320">
          <p15:clr>
            <a:srgbClr val="F26B43"/>
          </p15:clr>
        </p15:guide>
        <p15:guide id="12" orient="horz" pos="368">
          <p15:clr>
            <a:srgbClr val="F26B43"/>
          </p15:clr>
        </p15:guide>
        <p15:guide id="13" pos="1121">
          <p15:clr>
            <a:srgbClr val="F26B43"/>
          </p15:clr>
        </p15:guide>
        <p15:guide id="14" orient="horz" pos="4225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34196DD-EC34-4D57-9635-7B0A4AA4F3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13052946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416" imgH="416" progId="TCLayout.ActiveDocument.1">
                  <p:embed/>
                </p:oleObj>
              </mc:Choice>
              <mc:Fallback>
                <p:oleObj name="think-cell Slide" r:id="rId21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34196DD-EC34-4D57-9635-7B0A4AA4F3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8000" y="1528763"/>
            <a:ext cx="11171238" cy="48307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401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4" name="Rectangle 3" descr="&lt;Shell Yellow Bar&gt;" title="&lt;Shell Yellow Bar&gt;"/>
          <p:cNvSpPr/>
          <p:nvPr userDrawn="1"/>
        </p:nvSpPr>
        <p:spPr bwMode="gray">
          <a:xfrm>
            <a:off x="508010" y="508000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8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85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84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+mn-lt"/>
                <a:cs typeface="Arial" pitchFamily="34" charset="0"/>
              </a:rPr>
              <a:t>Copyright of SPDC JV</a:t>
            </a:r>
          </a:p>
        </p:txBody>
      </p:sp>
    </p:spTree>
    <p:extLst>
      <p:ext uri="{BB962C8B-B14F-4D97-AF65-F5344CB8AC3E}">
        <p14:creationId xmlns:p14="http://schemas.microsoft.com/office/powerpoint/2010/main" val="37480932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  <p:sldLayoutId id="2147483728" r:id="rId5"/>
    <p:sldLayoutId id="2147483729" r:id="rId6"/>
    <p:sldLayoutId id="2147483730" r:id="rId7"/>
    <p:sldLayoutId id="2147483731" r:id="rId8"/>
    <p:sldLayoutId id="2147483732" r:id="rId9"/>
    <p:sldLayoutId id="2147483733" r:id="rId10"/>
    <p:sldLayoutId id="2147483734" r:id="rId11"/>
    <p:sldLayoutId id="2147483735" r:id="rId12"/>
    <p:sldLayoutId id="2147483736" r:id="rId13"/>
    <p:sldLayoutId id="2147483737" r:id="rId14"/>
    <p:sldLayoutId id="2147483738" r:id="rId15"/>
    <p:sldLayoutId id="2147483739" r:id="rId16"/>
    <p:sldLayoutId id="2147483740" r:id="rId17"/>
    <p:sldLayoutId id="2147483741" r:id="rId18"/>
  </p:sldLayoutIdLst>
  <p:transition>
    <p:fade/>
  </p:transition>
  <p:hf hdr="0"/>
  <p:txStyles>
    <p:titleStyle>
      <a:lvl1pPr algn="l" defTabSz="1219170" rtl="0" eaLnBrk="1" latinLnBrk="0" hangingPunct="1">
        <a:lnSpc>
          <a:spcPct val="100000"/>
        </a:lnSpc>
        <a:spcBef>
          <a:spcPct val="0"/>
        </a:spcBef>
        <a:buNone/>
        <a:defRPr sz="2400" b="0" kern="1200" cap="none" baseline="0">
          <a:solidFill>
            <a:schemeClr val="tx1"/>
          </a:solidFill>
          <a:latin typeface="ShellBold" panose="00000800000000000000" pitchFamily="50" charset="0"/>
          <a:ea typeface="+mj-ea"/>
          <a:cs typeface="+mj-cs"/>
        </a:defRPr>
      </a:lvl1pPr>
    </p:titleStyle>
    <p:bodyStyle>
      <a:lvl1pPr marL="0" indent="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85000"/>
        <a:buFont typeface="Wingdings" pitchFamily="2" charset="2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30400" indent="-2304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85000"/>
        <a:buFont typeface="Wingdings" pitchFamily="2" charset="2"/>
        <a:buChar char="n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459000" indent="-2286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687600" indent="-2286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800" b="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890800" indent="-2032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043200" indent="-1524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320">
          <p15:clr>
            <a:srgbClr val="F26B43"/>
          </p15:clr>
        </p15:guide>
        <p15:guide id="3" pos="7357">
          <p15:clr>
            <a:srgbClr val="F26B43"/>
          </p15:clr>
        </p15:guide>
        <p15:guide id="4" orient="horz" pos="444">
          <p15:clr>
            <a:srgbClr val="F26B43"/>
          </p15:clr>
        </p15:guide>
        <p15:guide id="5" orient="horz" pos="963">
          <p15:clr>
            <a:srgbClr val="F26B43"/>
          </p15:clr>
        </p15:guide>
        <p15:guide id="6" orient="horz" pos="928">
          <p15:clr>
            <a:srgbClr val="F26B43"/>
          </p15:clr>
        </p15:guide>
        <p15:guide id="7" orient="horz" pos="4071">
          <p15:clr>
            <a:srgbClr val="F26B43"/>
          </p15:clr>
        </p15:guide>
        <p15:guide id="8" orient="horz" pos="4006">
          <p15:clr>
            <a:srgbClr val="F26B43"/>
          </p15:clr>
        </p15:guide>
        <p15:guide id="9" pos="3765">
          <p15:clr>
            <a:srgbClr val="F26B43"/>
          </p15:clr>
        </p15:guide>
        <p15:guide id="10" pos="3915">
          <p15:clr>
            <a:srgbClr val="F26B43"/>
          </p15:clr>
        </p15:guide>
        <p15:guide id="11" orient="horz" pos="320">
          <p15:clr>
            <a:srgbClr val="F26B43"/>
          </p15:clr>
        </p15:guide>
        <p15:guide id="12" orient="horz" pos="368">
          <p15:clr>
            <a:srgbClr val="F26B43"/>
          </p15:clr>
        </p15:guide>
        <p15:guide id="13" pos="1121">
          <p15:clr>
            <a:srgbClr val="F26B43"/>
          </p15:clr>
        </p15:guide>
        <p15:guide id="14" orient="horz" pos="4225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3E52359-6EA1-4B14-B590-6210AC0661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347759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360" imgH="360" progId="TCLayout.ActiveDocument.1">
                  <p:embed/>
                </p:oleObj>
              </mc:Choice>
              <mc:Fallback>
                <p:oleObj name="think-cell Slide" r:id="rId20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3E52359-6EA1-4B14-B590-6210AC0661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8000" y="1528763"/>
            <a:ext cx="11171238" cy="48307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401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4" name="Rectangle 3" descr="&lt;Shell Yellow Bar&gt;" title="&lt;Shell Yellow Bar&gt;"/>
          <p:cNvSpPr/>
          <p:nvPr userDrawn="1"/>
        </p:nvSpPr>
        <p:spPr bwMode="gray">
          <a:xfrm>
            <a:off x="508010" y="508000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8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83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October 2022</a:t>
            </a:r>
          </a:p>
        </p:txBody>
      </p:sp>
      <p:sp>
        <p:nvSpPr>
          <p:cNvPr id="85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84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US" sz="850" noProof="1">
                <a:solidFill>
                  <a:schemeClr val="tx1"/>
                </a:solidFill>
                <a:latin typeface="+mn-lt"/>
                <a:cs typeface="Arial" pitchFamily="34" charset="0"/>
              </a:rPr>
              <a:t>Shell Petroleum Development Company of Nigeria</a:t>
            </a:r>
            <a:endParaRPr lang="en-GB" sz="850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468857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3744" r:id="rId2"/>
    <p:sldLayoutId id="2147483745" r:id="rId3"/>
    <p:sldLayoutId id="2147483746" r:id="rId4"/>
    <p:sldLayoutId id="2147483747" r:id="rId5"/>
    <p:sldLayoutId id="2147483748" r:id="rId6"/>
    <p:sldLayoutId id="2147483749" r:id="rId7"/>
    <p:sldLayoutId id="2147483750" r:id="rId8"/>
    <p:sldLayoutId id="2147483751" r:id="rId9"/>
    <p:sldLayoutId id="2147483752" r:id="rId10"/>
    <p:sldLayoutId id="2147483753" r:id="rId11"/>
    <p:sldLayoutId id="2147483754" r:id="rId12"/>
    <p:sldLayoutId id="2147483755" r:id="rId13"/>
    <p:sldLayoutId id="2147483756" r:id="rId14"/>
    <p:sldLayoutId id="2147483757" r:id="rId15"/>
    <p:sldLayoutId id="2147483758" r:id="rId16"/>
    <p:sldLayoutId id="2147483759" r:id="rId17"/>
  </p:sldLayoutIdLst>
  <p:transition>
    <p:fade/>
  </p:transition>
  <p:hf hdr="0" ftr="0"/>
  <p:txStyles>
    <p:titleStyle>
      <a:lvl1pPr algn="l" defTabSz="1219170" rtl="0" eaLnBrk="1" latinLnBrk="0" hangingPunct="1">
        <a:lnSpc>
          <a:spcPct val="100000"/>
        </a:lnSpc>
        <a:spcBef>
          <a:spcPct val="0"/>
        </a:spcBef>
        <a:buNone/>
        <a:defRPr sz="2400" b="0" kern="1200" cap="none" baseline="0">
          <a:solidFill>
            <a:schemeClr val="tx1"/>
          </a:solidFill>
          <a:latin typeface="ShellBold" panose="00000800000000000000" pitchFamily="50" charset="0"/>
          <a:ea typeface="+mj-ea"/>
          <a:cs typeface="+mj-cs"/>
        </a:defRPr>
      </a:lvl1pPr>
    </p:titleStyle>
    <p:bodyStyle>
      <a:lvl1pPr marL="0" indent="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85000"/>
        <a:buFont typeface="Wingdings" pitchFamily="2" charset="2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30400" indent="-2304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85000"/>
        <a:buFont typeface="Wingdings" pitchFamily="2" charset="2"/>
        <a:buChar char="n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459000" indent="-2286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687600" indent="-2286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800" b="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890800" indent="-2032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043200" indent="-1524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320">
          <p15:clr>
            <a:srgbClr val="F26B43"/>
          </p15:clr>
        </p15:guide>
        <p15:guide id="3" pos="7357">
          <p15:clr>
            <a:srgbClr val="F26B43"/>
          </p15:clr>
        </p15:guide>
        <p15:guide id="4" orient="horz" pos="444">
          <p15:clr>
            <a:srgbClr val="F26B43"/>
          </p15:clr>
        </p15:guide>
        <p15:guide id="5" orient="horz" pos="963">
          <p15:clr>
            <a:srgbClr val="F26B43"/>
          </p15:clr>
        </p15:guide>
        <p15:guide id="6" orient="horz" pos="928">
          <p15:clr>
            <a:srgbClr val="F26B43"/>
          </p15:clr>
        </p15:guide>
        <p15:guide id="7" orient="horz" pos="4071">
          <p15:clr>
            <a:srgbClr val="F26B43"/>
          </p15:clr>
        </p15:guide>
        <p15:guide id="8" orient="horz" pos="4006">
          <p15:clr>
            <a:srgbClr val="F26B43"/>
          </p15:clr>
        </p15:guide>
        <p15:guide id="9" pos="3765">
          <p15:clr>
            <a:srgbClr val="F26B43"/>
          </p15:clr>
        </p15:guide>
        <p15:guide id="10" pos="3915">
          <p15:clr>
            <a:srgbClr val="F26B43"/>
          </p15:clr>
        </p15:guide>
        <p15:guide id="11" orient="horz" pos="320">
          <p15:clr>
            <a:srgbClr val="F26B43"/>
          </p15:clr>
        </p15:guide>
        <p15:guide id="12" orient="horz" pos="368">
          <p15:clr>
            <a:srgbClr val="F26B43"/>
          </p15:clr>
        </p15:guide>
        <p15:guide id="13" pos="1121">
          <p15:clr>
            <a:srgbClr val="F26B43"/>
          </p15:clr>
        </p15:guide>
        <p15:guide id="14" orient="horz" pos="42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34.xml"/><Relationship Id="rId1" Type="http://schemas.openxmlformats.org/officeDocument/2006/relationships/tags" Target="../tags/tag3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4A4F6E-91B0-48CA-9AF6-CEAF8CC5CD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09600"/>
            <a:ext cx="5843263" cy="361202"/>
          </a:xfrm>
          <a:noFill/>
        </p:spPr>
        <p:txBody>
          <a:bodyPr/>
          <a:lstStyle/>
          <a:p>
            <a:r>
              <a:rPr lang="en-GB" dirty="0" err="1"/>
              <a:t>Etelebou</a:t>
            </a:r>
            <a:r>
              <a:rPr lang="en-GB" dirty="0"/>
              <a:t> Routine Flaring Elimination</a:t>
            </a:r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AE697E1A-56CC-49BD-90C1-3E187BC005B7}"/>
              </a:ext>
            </a:extLst>
          </p:cNvPr>
          <p:cNvSpPr txBox="1">
            <a:spLocks/>
          </p:cNvSpPr>
          <p:nvPr/>
        </p:nvSpPr>
        <p:spPr>
          <a:xfrm>
            <a:off x="609600" y="990600"/>
            <a:ext cx="10896600" cy="5562600"/>
          </a:xfrm>
          <a:prstGeom prst="rect">
            <a:avLst/>
          </a:prstGeom>
          <a:ln>
            <a:noFill/>
          </a:ln>
        </p:spPr>
        <p:txBody>
          <a:bodyPr/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6225" indent="-276225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22288" indent="-250825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5650" indent="-2413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2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65200" indent="-212725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6175" indent="-180975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5563" defTabSz="1219170">
              <a:lnSpc>
                <a:spcPct val="150000"/>
              </a:lnSpc>
              <a:buClr>
                <a:srgbClr val="C00000"/>
              </a:buClr>
              <a:buSzTx/>
              <a:defRPr/>
            </a:pPr>
            <a:r>
              <a:rPr lang="en-GB" sz="1400" b="1" dirty="0">
                <a:solidFill>
                  <a:srgbClr val="595959"/>
                </a:solidFill>
                <a:latin typeface="Futura Medium"/>
              </a:rPr>
              <a:t>Basic Reasons why it is not under implementation </a:t>
            </a:r>
            <a:endParaRPr lang="en-GB" sz="1400" dirty="0">
              <a:solidFill>
                <a:srgbClr val="595959"/>
              </a:solidFill>
              <a:latin typeface="Futura Medium"/>
            </a:endParaRPr>
          </a:p>
          <a:p>
            <a:pPr marL="512763" lvl="1" indent="-165100" defTabSz="1219170">
              <a:lnSpc>
                <a:spcPct val="150000"/>
              </a:lnSpc>
              <a:buClr>
                <a:srgbClr val="C00000"/>
              </a:buClr>
              <a:buSzTx/>
              <a:buFont typeface="Wingdings" pitchFamily="2" charset="2"/>
              <a:buChar char="§"/>
              <a:defRPr/>
            </a:pPr>
            <a:r>
              <a:rPr lang="en-US" sz="1400" dirty="0">
                <a:solidFill>
                  <a:srgbClr val="595959"/>
                </a:solidFill>
              </a:rPr>
              <a:t>Project was not funded in OP21 and OP22</a:t>
            </a:r>
          </a:p>
          <a:p>
            <a:pPr marL="512763" lvl="1" indent="-165100" defTabSz="1219170">
              <a:lnSpc>
                <a:spcPct val="150000"/>
              </a:lnSpc>
              <a:buClr>
                <a:srgbClr val="C00000"/>
              </a:buClr>
              <a:buSzTx/>
              <a:buFont typeface="Wingdings" pitchFamily="2" charset="2"/>
              <a:buChar char="§"/>
              <a:defRPr/>
            </a:pPr>
            <a:r>
              <a:rPr lang="en-US" sz="1400" dirty="0">
                <a:solidFill>
                  <a:srgbClr val="595959"/>
                </a:solidFill>
              </a:rPr>
              <a:t>Cost of execution of the project is relatively high; e</a:t>
            </a:r>
            <a:r>
              <a:rPr lang="en-GB" sz="1400" dirty="0" err="1">
                <a:solidFill>
                  <a:srgbClr val="595959"/>
                </a:solidFill>
              </a:rPr>
              <a:t>stimated</a:t>
            </a:r>
            <a:r>
              <a:rPr lang="en-GB" sz="1400" dirty="0">
                <a:solidFill>
                  <a:srgbClr val="595959"/>
                </a:solidFill>
              </a:rPr>
              <a:t> cost is $5.98Mln</a:t>
            </a:r>
          </a:p>
          <a:p>
            <a:pPr marL="512763" lvl="1" indent="-165100" defTabSz="1219170">
              <a:lnSpc>
                <a:spcPct val="150000"/>
              </a:lnSpc>
              <a:buClr>
                <a:srgbClr val="C00000"/>
              </a:buClr>
              <a:buSzTx/>
              <a:buFont typeface="Wingdings" pitchFamily="2" charset="2"/>
              <a:buChar char="§"/>
              <a:defRPr/>
            </a:pPr>
            <a:r>
              <a:rPr lang="en-US" sz="1400" dirty="0">
                <a:solidFill>
                  <a:srgbClr val="595959"/>
                </a:solidFill>
              </a:rPr>
              <a:t>Relatively low volume of oil to be protected; circa 1.1kbopd that accounts for 4.3MMscf/d flare</a:t>
            </a:r>
          </a:p>
          <a:p>
            <a:pPr marL="512763" lvl="1" indent="-165100" defTabSz="1219170">
              <a:lnSpc>
                <a:spcPct val="150000"/>
              </a:lnSpc>
              <a:buClr>
                <a:srgbClr val="C00000"/>
              </a:buClr>
              <a:buSzTx/>
              <a:buFont typeface="Wingdings" pitchFamily="2" charset="2"/>
              <a:buChar char="§"/>
              <a:defRPr/>
            </a:pPr>
            <a:r>
              <a:rPr lang="en-US" sz="1400" dirty="0">
                <a:solidFill>
                  <a:srgbClr val="595959"/>
                </a:solidFill>
              </a:rPr>
              <a:t>Given the competing demands in OP22, project was put out of plan for re-introduction in OP23</a:t>
            </a:r>
          </a:p>
          <a:p>
            <a:pPr marL="71438" defTabSz="1219170">
              <a:lnSpc>
                <a:spcPct val="150000"/>
              </a:lnSpc>
              <a:buClr>
                <a:srgbClr val="C00000"/>
              </a:buClr>
              <a:buSzTx/>
              <a:defRPr/>
            </a:pPr>
            <a:endParaRPr lang="en-GB" sz="800" b="1" dirty="0">
              <a:solidFill>
                <a:srgbClr val="595959"/>
              </a:solidFill>
              <a:latin typeface="Futura Medium"/>
            </a:endParaRPr>
          </a:p>
          <a:p>
            <a:pPr marL="71438" defTabSz="1219170">
              <a:lnSpc>
                <a:spcPct val="150000"/>
              </a:lnSpc>
              <a:buClr>
                <a:srgbClr val="C00000"/>
              </a:buClr>
              <a:buSzTx/>
              <a:defRPr/>
            </a:pPr>
            <a:r>
              <a:rPr lang="en-GB" sz="1400" b="1" dirty="0">
                <a:solidFill>
                  <a:srgbClr val="595959"/>
                </a:solidFill>
                <a:latin typeface="Futura Medium"/>
              </a:rPr>
              <a:t>Opportunities/Positive Decision Drivers</a:t>
            </a:r>
          </a:p>
          <a:p>
            <a:pPr marL="71438" defTabSz="1219170">
              <a:lnSpc>
                <a:spcPct val="150000"/>
              </a:lnSpc>
              <a:buClr>
                <a:srgbClr val="C00000"/>
              </a:buClr>
              <a:buSzTx/>
              <a:defRPr/>
            </a:pPr>
            <a:r>
              <a:rPr lang="en-US" sz="1400" dirty="0">
                <a:solidFill>
                  <a:srgbClr val="595959"/>
                </a:solidFill>
                <a:latin typeface="Futura Medium"/>
              </a:rPr>
              <a:t>Besides the main benefit of Routine Flaring elimination and reduction in </a:t>
            </a:r>
            <a:r>
              <a:rPr lang="en-US" sz="1400" dirty="0" err="1">
                <a:solidFill>
                  <a:srgbClr val="595959"/>
                </a:solidFill>
                <a:latin typeface="Futura Medium"/>
              </a:rPr>
              <a:t>Opex</a:t>
            </a:r>
            <a:r>
              <a:rPr lang="en-US" sz="1400" dirty="0">
                <a:solidFill>
                  <a:srgbClr val="595959"/>
                </a:solidFill>
                <a:latin typeface="Futura Medium"/>
              </a:rPr>
              <a:t> for running of the station, the following are upsides:</a:t>
            </a:r>
            <a:endParaRPr lang="en-GB" sz="1400" dirty="0">
              <a:solidFill>
                <a:srgbClr val="595959"/>
              </a:solidFill>
              <a:latin typeface="Futura Medium"/>
            </a:endParaRPr>
          </a:p>
          <a:p>
            <a:pPr marL="512763" lvl="1" indent="-165100" defTabSz="1219170">
              <a:lnSpc>
                <a:spcPct val="150000"/>
              </a:lnSpc>
              <a:buClr>
                <a:srgbClr val="C00000"/>
              </a:buClr>
              <a:buSzTx/>
              <a:buFont typeface="Wingdings" pitchFamily="2" charset="2"/>
              <a:buChar char="§"/>
              <a:defRPr/>
            </a:pPr>
            <a:r>
              <a:rPr lang="en-US" sz="1400" dirty="0">
                <a:solidFill>
                  <a:srgbClr val="595959"/>
                </a:solidFill>
              </a:rPr>
              <a:t>DED already completed</a:t>
            </a:r>
          </a:p>
          <a:p>
            <a:pPr marL="512763" lvl="1" indent="-165100" defTabSz="1219170">
              <a:lnSpc>
                <a:spcPct val="150000"/>
              </a:lnSpc>
              <a:buClr>
                <a:srgbClr val="C00000"/>
              </a:buClr>
              <a:buSzTx/>
              <a:buFont typeface="Wingdings" pitchFamily="2" charset="2"/>
              <a:buChar char="§"/>
              <a:defRPr/>
            </a:pPr>
            <a:r>
              <a:rPr lang="en-US" sz="1400" dirty="0">
                <a:solidFill>
                  <a:srgbClr val="595959"/>
                </a:solidFill>
              </a:rPr>
              <a:t>Current oil price (&gt;$75/</a:t>
            </a:r>
            <a:r>
              <a:rPr lang="en-US" sz="1400" dirty="0" err="1">
                <a:solidFill>
                  <a:srgbClr val="595959"/>
                </a:solidFill>
              </a:rPr>
              <a:t>bbl</a:t>
            </a:r>
            <a:r>
              <a:rPr lang="en-US" sz="1400" dirty="0">
                <a:solidFill>
                  <a:srgbClr val="595959"/>
                </a:solidFill>
              </a:rPr>
              <a:t>) will make for early payback; within circa 2yrs</a:t>
            </a:r>
          </a:p>
          <a:p>
            <a:pPr marL="512763" lvl="1" indent="-165100" defTabSz="1219170">
              <a:lnSpc>
                <a:spcPct val="150000"/>
              </a:lnSpc>
              <a:buClr>
                <a:srgbClr val="C00000"/>
              </a:buClr>
              <a:buSzTx/>
              <a:buFont typeface="Wingdings" pitchFamily="2" charset="2"/>
              <a:buChar char="§"/>
              <a:defRPr/>
            </a:pPr>
            <a:r>
              <a:rPr lang="en-US" sz="1400" dirty="0">
                <a:solidFill>
                  <a:srgbClr val="595959"/>
                </a:solidFill>
                <a:highlight>
                  <a:srgbClr val="FFFF00"/>
                </a:highlight>
              </a:rPr>
              <a:t>There is large Gas Cap in </a:t>
            </a:r>
            <a:r>
              <a:rPr lang="en-US" sz="1400" dirty="0" err="1">
                <a:solidFill>
                  <a:srgbClr val="595959"/>
                </a:solidFill>
                <a:highlight>
                  <a:srgbClr val="FFFF00"/>
                </a:highlight>
              </a:rPr>
              <a:t>Etelebou</a:t>
            </a:r>
            <a:r>
              <a:rPr lang="en-US" sz="1400" dirty="0">
                <a:solidFill>
                  <a:srgbClr val="595959"/>
                </a:solidFill>
                <a:highlight>
                  <a:srgbClr val="FFFF00"/>
                </a:highlight>
              </a:rPr>
              <a:t> which is planned for blow down from 2031, with FID in 2026</a:t>
            </a:r>
          </a:p>
          <a:p>
            <a:pPr marL="758826" lvl="2" indent="-165100" defTabSz="1219170">
              <a:lnSpc>
                <a:spcPct val="150000"/>
              </a:lnSpc>
              <a:buClr>
                <a:srgbClr val="C00000"/>
              </a:buClr>
              <a:buSzTx/>
              <a:buFont typeface="Wingdings" pitchFamily="2" charset="2"/>
              <a:buChar char="§"/>
              <a:defRPr/>
            </a:pPr>
            <a:r>
              <a:rPr lang="en-US" sz="1400" dirty="0">
                <a:highlight>
                  <a:srgbClr val="FFFF00"/>
                </a:highlight>
                <a:latin typeface="Futura Medium" panose="00000400000000000000" pitchFamily="2" charset="0"/>
              </a:rPr>
              <a:t>0.7</a:t>
            </a:r>
            <a:r>
              <a:rPr lang="en-US" sz="1400" b="0" kern="1200" noProof="0" dirty="0" err="1">
                <a:solidFill>
                  <a:schemeClr val="tx1"/>
                </a:solidFill>
                <a:highlight>
                  <a:srgbClr val="FFFF00"/>
                </a:highlight>
                <a:latin typeface="Futura Medium" panose="00000400000000000000" pitchFamily="2" charset="0"/>
                <a:ea typeface="+mn-ea"/>
                <a:cs typeface="+mn-cs"/>
              </a:rPr>
              <a:t>Bscf</a:t>
            </a:r>
            <a:r>
              <a:rPr lang="en-US" sz="1400" b="0" kern="1200" noProof="0" dirty="0">
                <a:solidFill>
                  <a:schemeClr val="tx1"/>
                </a:solidFill>
                <a:highlight>
                  <a:srgbClr val="FFFF00"/>
                </a:highlight>
                <a:latin typeface="Futura Medium" panose="00000400000000000000" pitchFamily="2" charset="0"/>
                <a:ea typeface="+mn-ea"/>
                <a:cs typeface="+mn-cs"/>
              </a:rPr>
              <a:t> to be developed with production of 250MMscf/d</a:t>
            </a:r>
            <a:endParaRPr lang="en-US" sz="1400" dirty="0">
              <a:solidFill>
                <a:srgbClr val="595959"/>
              </a:solidFill>
              <a:highlight>
                <a:srgbClr val="FFFF00"/>
              </a:highlight>
            </a:endParaRPr>
          </a:p>
          <a:p>
            <a:pPr marL="512763" lvl="1" indent="-165100" defTabSz="1219170">
              <a:lnSpc>
                <a:spcPct val="150000"/>
              </a:lnSpc>
              <a:buClr>
                <a:srgbClr val="C00000"/>
              </a:buClr>
              <a:buSzTx/>
              <a:buFont typeface="Wingdings" pitchFamily="2" charset="2"/>
              <a:buChar char="§"/>
              <a:defRPr/>
            </a:pPr>
            <a:r>
              <a:rPr lang="en-US" sz="1400" dirty="0">
                <a:solidFill>
                  <a:srgbClr val="595959"/>
                </a:solidFill>
              </a:rPr>
              <a:t>Need to bring the shut-in wells back into production to produce the oil in readiness for the blow down</a:t>
            </a:r>
          </a:p>
          <a:p>
            <a:pPr marL="512763" lvl="1" indent="-165100" defTabSz="1219170">
              <a:lnSpc>
                <a:spcPct val="150000"/>
              </a:lnSpc>
              <a:buClr>
                <a:srgbClr val="C00000"/>
              </a:buClr>
              <a:buSzTx/>
              <a:buFont typeface="Wingdings" pitchFamily="2" charset="2"/>
              <a:buChar char="§"/>
              <a:defRPr/>
            </a:pPr>
            <a:r>
              <a:rPr lang="en-US" sz="1400" dirty="0">
                <a:solidFill>
                  <a:srgbClr val="595959"/>
                </a:solidFill>
              </a:rPr>
              <a:t>The produced associated gas will add to export gas</a:t>
            </a:r>
          </a:p>
          <a:p>
            <a:pPr marL="55563" defTabSz="1219170">
              <a:lnSpc>
                <a:spcPct val="150000"/>
              </a:lnSpc>
              <a:buClr>
                <a:srgbClr val="C00000"/>
              </a:buClr>
              <a:buSzTx/>
              <a:defRPr/>
            </a:pPr>
            <a:endParaRPr lang="en-GB" sz="800" b="1" dirty="0">
              <a:solidFill>
                <a:srgbClr val="002060"/>
              </a:solidFill>
              <a:latin typeface="Futura Medium"/>
            </a:endParaRPr>
          </a:p>
          <a:p>
            <a:pPr marL="55563" defTabSz="1219170">
              <a:lnSpc>
                <a:spcPct val="150000"/>
              </a:lnSpc>
              <a:buClr>
                <a:srgbClr val="C00000"/>
              </a:buClr>
              <a:buSzTx/>
              <a:defRPr/>
            </a:pPr>
            <a:r>
              <a:rPr lang="en-GB" sz="1400" b="1" dirty="0">
                <a:solidFill>
                  <a:srgbClr val="002060"/>
                </a:solidFill>
                <a:latin typeface="Futura Medium"/>
              </a:rPr>
              <a:t>Key Enablers for Implementation in 2023</a:t>
            </a:r>
            <a:endParaRPr lang="en-GB" sz="1400" dirty="0">
              <a:solidFill>
                <a:srgbClr val="002060"/>
              </a:solidFill>
              <a:latin typeface="Futura Medium"/>
            </a:endParaRPr>
          </a:p>
          <a:p>
            <a:pPr marL="512763" lvl="1" indent="-165100" defTabSz="1219170">
              <a:lnSpc>
                <a:spcPct val="150000"/>
              </a:lnSpc>
              <a:buClr>
                <a:srgbClr val="C00000"/>
              </a:buClr>
              <a:buSzTx/>
              <a:buFont typeface="Wingdings" pitchFamily="2" charset="2"/>
              <a:buChar char="§"/>
              <a:defRPr/>
            </a:pPr>
            <a:r>
              <a:rPr lang="en-US" sz="1400" dirty="0">
                <a:solidFill>
                  <a:srgbClr val="002060"/>
                </a:solidFill>
              </a:rPr>
              <a:t>Support for funding ($6M)</a:t>
            </a:r>
          </a:p>
          <a:p>
            <a:pPr marL="512763" lvl="1" indent="-165100" defTabSz="1219170">
              <a:lnSpc>
                <a:spcPct val="150000"/>
              </a:lnSpc>
              <a:buClr>
                <a:srgbClr val="C00000"/>
              </a:buClr>
              <a:buSzTx/>
              <a:buFont typeface="Wingdings" pitchFamily="2" charset="2"/>
              <a:buChar char="§"/>
              <a:defRPr/>
            </a:pPr>
            <a:r>
              <a:rPr lang="en-US" sz="1400" dirty="0">
                <a:solidFill>
                  <a:srgbClr val="002060"/>
                </a:solidFill>
              </a:rPr>
              <a:t>Inclusion in OABP plan for 2023 (execution capacity)</a:t>
            </a:r>
          </a:p>
        </p:txBody>
      </p:sp>
    </p:spTree>
    <p:extLst>
      <p:ext uri="{BB962C8B-B14F-4D97-AF65-F5344CB8AC3E}">
        <p14:creationId xmlns:p14="http://schemas.microsoft.com/office/powerpoint/2010/main" val="74062605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7" name="Picture 206">
            <a:extLst>
              <a:ext uri="{FF2B5EF4-FFF2-40B4-BE49-F238E27FC236}">
                <a16:creationId xmlns:a16="http://schemas.microsoft.com/office/drawing/2014/main" id="{F110079B-E7D7-412D-82BE-DB3C017F15A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600" y="1295399"/>
            <a:ext cx="5562600" cy="3753357"/>
          </a:xfrm>
          <a:prstGeom prst="rect">
            <a:avLst/>
          </a:prstGeom>
          <a:ln>
            <a:solidFill>
              <a:schemeClr val="bg2">
                <a:lumMod val="75000"/>
              </a:schemeClr>
            </a:solidFill>
          </a:ln>
        </p:spPr>
      </p:pic>
      <p:sp>
        <p:nvSpPr>
          <p:cNvPr id="209" name="TextBox 208">
            <a:extLst>
              <a:ext uri="{FF2B5EF4-FFF2-40B4-BE49-F238E27FC236}">
                <a16:creationId xmlns:a16="http://schemas.microsoft.com/office/drawing/2014/main" id="{B3C27261-A1C8-4B31-AE67-9FB820E197D5}"/>
              </a:ext>
            </a:extLst>
          </p:cNvPr>
          <p:cNvSpPr txBox="1"/>
          <p:nvPr/>
        </p:nvSpPr>
        <p:spPr bwMode="auto">
          <a:xfrm>
            <a:off x="6248400" y="990600"/>
            <a:ext cx="5410200" cy="504824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576263" lvl="1" indent="-228600">
              <a:lnSpc>
                <a:spcPct val="150000"/>
              </a:lnSpc>
              <a:buClr>
                <a:srgbClr val="C00000"/>
              </a:buClr>
              <a:buFont typeface="+mj-lt"/>
              <a:buAutoNum type="alphaLcPeriod" startAt="2"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Bulk all LP wells at the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Flowstation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 from the FS LP Header to the new LP Manifold at the Remote Manifold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en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-route to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Gbaran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 CPF using the existing 4-inch Line for Well 7S with end tie-in modifications </a:t>
            </a:r>
          </a:p>
          <a:p>
            <a:pPr marL="576263" marR="0" lvl="1" indent="-228600" algn="l" defTabSz="121917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+mj-lt"/>
              <a:buAutoNum type="alphaLcPeriod" startAt="2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Carry out Monthly well testing of the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Flowstation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 LP wells at the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Flowstation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 using the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Flowstation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 Test Header.</a:t>
            </a:r>
          </a:p>
          <a:p>
            <a:pPr marL="576263" marR="0" lvl="1" indent="-228600" algn="l" defTabSz="121917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+mj-lt"/>
              <a:buAutoNum type="alphaLcPeriod" startAt="2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Install a Multiport Selector Valve at the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Etelebou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 Remote Manifold for rerouting the HP wells to the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flowstation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 for testing of the wells using existing 4-inch line for Well 7L with end-tie-in modification</a:t>
            </a:r>
          </a:p>
          <a:p>
            <a:pPr marL="576263" marR="0" lvl="1" indent="-228600" algn="l" defTabSz="121917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+mj-lt"/>
              <a:buAutoNum type="alphaLcPeriod" startAt="2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Carry out monthly well testing of the Remote Manifold HP wells at the adjacen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Etelebou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flowstation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.</a:t>
            </a:r>
          </a:p>
          <a:p>
            <a:pPr marL="576263" marR="0" lvl="1" indent="-228600" algn="l" defTabSz="121917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+mj-lt"/>
              <a:buAutoNum type="alphaLcPeriod" startAt="2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Carry out modifications to install Multiphase Meters for Metering of the Well Fluids, this will eventually replace the use of the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flowstation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 for well testing and ensure tha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flowstation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 can be completely decommissioned for use ultimately with multiphase meters used for testing</a:t>
            </a:r>
          </a:p>
          <a:p>
            <a:pPr marL="347663" marR="0" lvl="1" indent="0" algn="l" defTabSz="121917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A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Gbaran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 CPF;</a:t>
            </a:r>
          </a:p>
          <a:p>
            <a:pPr marL="576263" marR="0" lvl="1" indent="-228600" algn="l" defTabSz="121917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+mj-lt"/>
              <a:buAutoNum type="alphaLcPeriod" startAt="7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Convert HP1 Oil Header to LP2 oil header </a:t>
            </a:r>
          </a:p>
          <a:p>
            <a:pPr marL="576263" marR="0" lvl="1" indent="-228600" algn="l" defTabSz="121917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+mj-lt"/>
              <a:buAutoNum type="alphaLcPeriod" startAt="7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Reroute 6” Test Line (On-plot piping) from Test Manifold to the Oil Train LP Header </a:t>
            </a:r>
          </a:p>
        </p:txBody>
      </p:sp>
      <p:sp>
        <p:nvSpPr>
          <p:cNvPr id="210" name="Content Placeholder 4">
            <a:extLst>
              <a:ext uri="{FF2B5EF4-FFF2-40B4-BE49-F238E27FC236}">
                <a16:creationId xmlns:a16="http://schemas.microsoft.com/office/drawing/2014/main" id="{DC50A8E2-381E-408F-BABB-6C6876B7BE45}"/>
              </a:ext>
            </a:extLst>
          </p:cNvPr>
          <p:cNvSpPr txBox="1">
            <a:spLocks/>
          </p:cNvSpPr>
          <p:nvPr/>
        </p:nvSpPr>
        <p:spPr>
          <a:xfrm>
            <a:off x="457200" y="5029200"/>
            <a:ext cx="5715000" cy="1447800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6225" indent="-276225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22288" indent="-250825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5650" indent="-2413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2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65200" indent="-212725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6175" indent="-180975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5563" marR="0" lvl="0" indent="0" algn="l" defTabSz="121917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Scope 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  <a:p>
            <a:pPr marL="576263" marR="0" lvl="1" indent="-228600" algn="l" defTabSz="121917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+mj-lt"/>
              <a:buAutoNum type="alphaL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Convert the 6” Existing Test Manifold and Line a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Etelebou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 Remote Manifold to an LP manifold and line.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8161911-C1C2-473D-8297-91CD3015257D}"/>
              </a:ext>
            </a:extLst>
          </p:cNvPr>
          <p:cNvSpPr txBox="1"/>
          <p:nvPr/>
        </p:nvSpPr>
        <p:spPr bwMode="auto">
          <a:xfrm>
            <a:off x="609600" y="990600"/>
            <a:ext cx="3493457" cy="31079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357708">
              <a:lnSpc>
                <a:spcPct val="140000"/>
              </a:lnSpc>
              <a:buClr>
                <a:schemeClr val="accent2"/>
              </a:buClr>
              <a:buSzPct val="85000"/>
            </a:pPr>
            <a:r>
              <a:rPr lang="en-US" sz="1600" dirty="0" err="1"/>
              <a:t>Etelebou</a:t>
            </a:r>
            <a:r>
              <a:rPr lang="en-US" sz="1600" dirty="0"/>
              <a:t> Wells Rerouting to </a:t>
            </a:r>
            <a:r>
              <a:rPr lang="en-US" sz="1600" dirty="0" err="1"/>
              <a:t>Gbaran</a:t>
            </a:r>
            <a:r>
              <a:rPr lang="en-US" sz="1600" dirty="0"/>
              <a:t> CPF</a:t>
            </a:r>
          </a:p>
        </p:txBody>
      </p:sp>
      <p:sp>
        <p:nvSpPr>
          <p:cNvPr id="215" name="Title 1">
            <a:extLst>
              <a:ext uri="{FF2B5EF4-FFF2-40B4-BE49-F238E27FC236}">
                <a16:creationId xmlns:a16="http://schemas.microsoft.com/office/drawing/2014/main" id="{DC62724F-FBBD-4E34-A1E1-6D27CBA77DE6}"/>
              </a:ext>
            </a:extLst>
          </p:cNvPr>
          <p:cNvSpPr txBox="1">
            <a:spLocks/>
          </p:cNvSpPr>
          <p:nvPr/>
        </p:nvSpPr>
        <p:spPr bwMode="auto">
          <a:xfrm>
            <a:off x="533400" y="609600"/>
            <a:ext cx="5843263" cy="36120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121917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0" kern="1200" cap="none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 err="1"/>
              <a:t>Etelebou</a:t>
            </a:r>
            <a:r>
              <a:rPr lang="en-GB" dirty="0"/>
              <a:t> Routine Flaring Elimination</a:t>
            </a:r>
          </a:p>
        </p:txBody>
      </p:sp>
    </p:spTree>
    <p:extLst>
      <p:ext uri="{BB962C8B-B14F-4D97-AF65-F5344CB8AC3E}">
        <p14:creationId xmlns:p14="http://schemas.microsoft.com/office/powerpoint/2010/main" val="1329211212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54668516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933F4E5-EC62-4248-A742-AEEF996A99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933F4E5-EC62-4248-A742-AEEF996A99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5870" y="586210"/>
            <a:ext cx="11171238" cy="490287"/>
          </a:xfrm>
        </p:spPr>
        <p:txBody>
          <a:bodyPr vert="horz"/>
          <a:lstStyle/>
          <a:p>
            <a:pPr defTabSz="914377"/>
            <a:r>
              <a:rPr lang="en-US" dirty="0"/>
              <a:t>Etelebou CDE Reservoirs Development</a:t>
            </a:r>
          </a:p>
        </p:txBody>
      </p:sp>
      <p:graphicFrame>
        <p:nvGraphicFramePr>
          <p:cNvPr id="7" name="Table 8">
            <a:extLst>
              <a:ext uri="{FF2B5EF4-FFF2-40B4-BE49-F238E27FC236}">
                <a16:creationId xmlns:a16="http://schemas.microsoft.com/office/drawing/2014/main" id="{18385C63-E9DC-4582-8225-9E28023EDF8B}"/>
              </a:ext>
            </a:extLst>
          </p:cNvPr>
          <p:cNvGraphicFramePr>
            <a:graphicFrameLocks noGrp="1"/>
          </p:cNvGraphicFramePr>
          <p:nvPr/>
        </p:nvGraphicFramePr>
        <p:xfrm>
          <a:off x="508000" y="1089037"/>
          <a:ext cx="5675086" cy="538343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1356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4615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735259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GB" sz="1100" b="1" kern="1200" dirty="0">
                          <a:solidFill>
                            <a:schemeClr val="accent2"/>
                          </a:solidFill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PROJECT OBJECTIVE &amp; </a:t>
                      </a:r>
                      <a:r>
                        <a:rPr lang="en-GB" sz="1100" b="1" dirty="0">
                          <a:solidFill>
                            <a:schemeClr val="accent2"/>
                          </a:solidFill>
                          <a:latin typeface="Futura Medium" panose="00000400000000000000" pitchFamily="2" charset="0"/>
                        </a:rPr>
                        <a:t>JUSTIFICATION</a:t>
                      </a:r>
                      <a:endParaRPr lang="en-GB" sz="1100" b="1" kern="1200" dirty="0">
                        <a:solidFill>
                          <a:schemeClr val="accent2"/>
                        </a:solidFill>
                        <a:latin typeface="Futura Medium" panose="00000400000000000000" pitchFamily="2" charset="0"/>
                        <a:ea typeface="+mn-ea"/>
                        <a:cs typeface="+mn-cs"/>
                      </a:endParaRPr>
                    </a:p>
                  </a:txBody>
                  <a:tcPr marL="121904" marR="121904" anchor="ctr">
                    <a:solidFill>
                      <a:srgbClr val="F7D117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1" indent="-171450" algn="just" defTabSz="121917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300"/>
                        </a:spcAft>
                        <a:buClr>
                          <a:srgbClr val="DD1D21"/>
                        </a:buClr>
                        <a:buSzPct val="85000"/>
                        <a:buFont typeface="Wingdings" panose="05000000000000000000" pitchFamily="2" charset="2"/>
                        <a:buChar char="§"/>
                        <a:tabLst>
                          <a:tab pos="1054100" algn="l"/>
                          <a:tab pos="1243013" algn="l"/>
                        </a:tabLst>
                        <a:defRPr/>
                      </a:pPr>
                      <a:r>
                        <a:rPr lang="en-US" sz="1100" b="0" kern="1200" noProof="0" dirty="0">
                          <a:solidFill>
                            <a:schemeClr val="tx1"/>
                          </a:solidFill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This project is aimed at keeping the Gbaran facility full by developing 659 Bscf of gas from C9200N, C9400N, D8000N and E1000N  reservoirs with a total potential of about  250 MMscf/d</a:t>
                      </a:r>
                    </a:p>
                    <a:p>
                      <a:pPr marL="171450" marR="0" lvl="1" indent="-171450" algn="just" defTabSz="121917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300"/>
                        </a:spcAft>
                        <a:buClr>
                          <a:srgbClr val="DD1D21"/>
                        </a:buClr>
                        <a:buSzPct val="85000"/>
                        <a:buFont typeface="Wingdings" panose="05000000000000000000" pitchFamily="2" charset="2"/>
                        <a:buChar char="§"/>
                        <a:tabLst>
                          <a:tab pos="1054100" algn="l"/>
                          <a:tab pos="1243013" algn="l"/>
                        </a:tabLst>
                        <a:defRPr/>
                      </a:pPr>
                      <a:r>
                        <a:rPr lang="en-US" sz="1100" b="0" kern="1200" noProof="0" dirty="0">
                          <a:solidFill>
                            <a:schemeClr val="tx1"/>
                          </a:solidFill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Select phase maturation as part of NSA studies</a:t>
                      </a:r>
                    </a:p>
                  </a:txBody>
                  <a:tcPr marL="121904" marR="12190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9580885"/>
                  </a:ext>
                </a:extLst>
              </a:tr>
              <a:tr h="2257244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GB" sz="1100" b="1" kern="1200" dirty="0">
                          <a:solidFill>
                            <a:schemeClr val="accent2"/>
                          </a:solidFill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PROJECT SUMMARY</a:t>
                      </a:r>
                    </a:p>
                  </a:txBody>
                  <a:tcPr marL="121904" marR="121904" anchor="ctr">
                    <a:solidFill>
                      <a:srgbClr val="F7D117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1" indent="-171450" algn="just" defTabSz="121917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300"/>
                        </a:spcAft>
                        <a:buClr>
                          <a:srgbClr val="DD1D21"/>
                        </a:buClr>
                        <a:buSzPct val="85000"/>
                        <a:buFont typeface="Wingdings" panose="05000000000000000000" pitchFamily="2" charset="2"/>
                        <a:buChar char="§"/>
                        <a:tabLst>
                          <a:tab pos="1054100" algn="l"/>
                          <a:tab pos="1243013" algn="l"/>
                        </a:tabLst>
                        <a:defRPr/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Drill and complete 5 Gas wells</a:t>
                      </a:r>
                    </a:p>
                    <a:p>
                      <a:pPr marL="171450" marR="0" lvl="1" indent="-171450" algn="just" defTabSz="121917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300"/>
                        </a:spcAft>
                        <a:buClr>
                          <a:srgbClr val="DD1D21"/>
                        </a:buClr>
                        <a:buSzPct val="85000"/>
                        <a:buFont typeface="Wingdings" panose="05000000000000000000" pitchFamily="2" charset="2"/>
                        <a:buChar char="§"/>
                        <a:tabLst>
                          <a:tab pos="1054100" algn="l"/>
                          <a:tab pos="1243013" algn="l"/>
                        </a:tabLst>
                        <a:defRPr/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Install 5Nos new 8" x 500m DSS Flowline to new remote manifold at Etelebou</a:t>
                      </a:r>
                    </a:p>
                    <a:p>
                      <a:pPr marL="171450" marR="0" lvl="1" indent="-171450" algn="just" defTabSz="121917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300"/>
                        </a:spcAft>
                        <a:buClr>
                          <a:srgbClr val="DD1D21"/>
                        </a:buClr>
                        <a:buSzPct val="85000"/>
                        <a:buFont typeface="Wingdings" panose="05000000000000000000" pitchFamily="2" charset="2"/>
                        <a:buChar char="§"/>
                        <a:tabLst>
                          <a:tab pos="1054100" algn="l"/>
                          <a:tab pos="1243013" algn="l"/>
                        </a:tabLst>
                        <a:defRPr/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Install 16"x12km CS bulkline to Gbaran CPF </a:t>
                      </a:r>
                    </a:p>
                    <a:p>
                      <a:pPr marL="171450" marR="0" lvl="1" indent="-171450" algn="just" defTabSz="121917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300"/>
                        </a:spcAft>
                        <a:buClr>
                          <a:srgbClr val="DD1D21"/>
                        </a:buClr>
                        <a:buSzPct val="85000"/>
                        <a:buFont typeface="Wingdings" panose="05000000000000000000" pitchFamily="2" charset="2"/>
                        <a:buChar char="§"/>
                        <a:tabLst>
                          <a:tab pos="1054100" algn="l"/>
                          <a:tab pos="1243013" algn="l"/>
                        </a:tabLst>
                        <a:defRPr/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Tie-in at existing Gbaran CPF vis xxx Sludge Catcher</a:t>
                      </a:r>
                    </a:p>
                  </a:txBody>
                  <a:tcPr marL="121904" marR="12190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7337336"/>
                  </a:ext>
                </a:extLst>
              </a:tr>
              <a:tr h="1279350">
                <a:tc>
                  <a:txBody>
                    <a:bodyPr/>
                    <a:lstStyle/>
                    <a:p>
                      <a:r>
                        <a:rPr lang="en-GB" sz="1100" b="1" dirty="0">
                          <a:solidFill>
                            <a:schemeClr val="accent2"/>
                          </a:solidFill>
                          <a:latin typeface="Futura Medium" panose="00000400000000000000" pitchFamily="2" charset="0"/>
                        </a:rPr>
                        <a:t>PROJECT METRICS</a:t>
                      </a:r>
                    </a:p>
                  </a:txBody>
                  <a:tcPr marL="121904" marR="121904" anchor="ctr">
                    <a:solidFill>
                      <a:srgbClr val="F7D117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1" indent="-171450" algn="just" defTabSz="121917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rgbClr val="DD1D21"/>
                        </a:buClr>
                        <a:buSzPct val="85000"/>
                        <a:buFont typeface="Wingdings" panose="05000000000000000000" pitchFamily="2" charset="2"/>
                        <a:buChar char="§"/>
                        <a:tabLst>
                          <a:tab pos="1054100" algn="l"/>
                          <a:tab pos="1243013" algn="l"/>
                        </a:tabLst>
                        <a:defRPr/>
                      </a:pPr>
                      <a:r>
                        <a:rPr lang="en-US" sz="1100" b="0" i="0" u="none" strike="noStrike" kern="1200" baseline="0" dirty="0">
                          <a:solidFill>
                            <a:schemeClr val="tx1"/>
                          </a:solidFill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CAPEX (MOD 100%) = $342mln (Well: $195mln &amp; Facilities: $147mln)</a:t>
                      </a:r>
                    </a:p>
                    <a:p>
                      <a:pPr marL="171450" marR="0" lvl="1" indent="-171450" algn="just" defTabSz="121917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rgbClr val="DD1D21"/>
                        </a:buClr>
                        <a:buSzPct val="85000"/>
                        <a:buFont typeface="Wingdings" panose="05000000000000000000" pitchFamily="2" charset="2"/>
                        <a:buChar char="§"/>
                        <a:tabLst>
                          <a:tab pos="1054100" algn="l"/>
                          <a:tab pos="1243013" algn="l"/>
                        </a:tabLst>
                        <a:defRPr/>
                      </a:pPr>
                      <a:r>
                        <a:rPr lang="en-US" sz="1100" b="0" i="0" u="none" strike="noStrike" kern="1200" baseline="0" dirty="0">
                          <a:solidFill>
                            <a:schemeClr val="tx1"/>
                          </a:solidFill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FID: Oct-26</a:t>
                      </a:r>
                    </a:p>
                    <a:p>
                      <a:pPr marL="171450" marR="0" lvl="1" indent="-171450" algn="just" defTabSz="121917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rgbClr val="DD1D21"/>
                        </a:buClr>
                        <a:buSzPct val="85000"/>
                        <a:buFont typeface="Wingdings" panose="05000000000000000000" pitchFamily="2" charset="2"/>
                        <a:buChar char="§"/>
                        <a:tabLst>
                          <a:tab pos="1054100" algn="l"/>
                          <a:tab pos="1243013" algn="l"/>
                        </a:tabLst>
                        <a:defRPr/>
                      </a:pPr>
                      <a:r>
                        <a:rPr lang="en-US" sz="1100" b="0" i="0" u="none" strike="noStrike" kern="1200" baseline="0" dirty="0">
                          <a:solidFill>
                            <a:schemeClr val="tx1"/>
                          </a:solidFill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Start-up: Jun-31</a:t>
                      </a:r>
                    </a:p>
                  </a:txBody>
                  <a:tcPr marL="121904" marR="12190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70542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GB" sz="1100" b="1" kern="1200" dirty="0">
                          <a:solidFill>
                            <a:schemeClr val="accent2"/>
                          </a:solidFill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OPEN SWITCHES</a:t>
                      </a:r>
                    </a:p>
                    <a:p>
                      <a:endParaRPr lang="en-GB" sz="1100" b="1" dirty="0">
                        <a:solidFill>
                          <a:schemeClr val="accent2"/>
                        </a:solidFill>
                        <a:latin typeface="Futura Medium" panose="00000400000000000000" pitchFamily="2" charset="0"/>
                      </a:endParaRPr>
                    </a:p>
                  </a:txBody>
                  <a:tcPr marL="121904" marR="121904" anchor="ctr">
                    <a:solidFill>
                      <a:srgbClr val="F7D117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1" indent="-171450" algn="just" defTabSz="121917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300"/>
                        </a:spcAft>
                        <a:buClr>
                          <a:srgbClr val="DD1D21"/>
                        </a:buClr>
                        <a:buSzPct val="85000"/>
                        <a:buFont typeface="Wingdings" panose="05000000000000000000" pitchFamily="2" charset="2"/>
                        <a:buChar char="§"/>
                        <a:tabLst>
                          <a:tab pos="1054100" algn="l"/>
                          <a:tab pos="1243013" algn="l"/>
                        </a:tabLst>
                        <a:defRPr/>
                      </a:pPr>
                      <a:r>
                        <a:rPr lang="en-US" sz="1100" kern="1200" noProof="0" dirty="0">
                          <a:solidFill>
                            <a:schemeClr val="tx1"/>
                          </a:solidFill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Readiness of reservoirs for gas cap blowdown.</a:t>
                      </a:r>
                    </a:p>
                    <a:p>
                      <a:pPr marL="171450" marR="0" lvl="1" indent="-171450" algn="just" defTabSz="121917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300"/>
                        </a:spcAft>
                        <a:buClr>
                          <a:srgbClr val="DD1D21"/>
                        </a:buClr>
                        <a:buSzPct val="85000"/>
                        <a:buFont typeface="Wingdings" panose="05000000000000000000" pitchFamily="2" charset="2"/>
                        <a:buChar char="§"/>
                        <a:tabLst>
                          <a:tab pos="1054100" algn="l"/>
                          <a:tab pos="1243013" algn="l"/>
                        </a:tabLst>
                        <a:defRPr/>
                      </a:pPr>
                      <a:r>
                        <a:rPr lang="en-US" sz="1100" kern="1200" noProof="0" dirty="0">
                          <a:solidFill>
                            <a:schemeClr val="tx1"/>
                          </a:solidFill>
                          <a:latin typeface="Futura Medium" panose="00000400000000000000" pitchFamily="2" charset="0"/>
                          <a:ea typeface="+mn-ea"/>
                          <a:cs typeface="+mn-cs"/>
                        </a:rPr>
                        <a:t>PIA regulation on gas cap destination</a:t>
                      </a:r>
                    </a:p>
                  </a:txBody>
                  <a:tcPr marL="121904" marR="12190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3225658"/>
                  </a:ext>
                </a:extLst>
              </a:tr>
            </a:tbl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1DED0196-1D75-448B-82E8-3589385672E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08102" y="1089037"/>
            <a:ext cx="5713755" cy="3491672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23B8588-FF80-4C66-9D17-701A921A8B9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08102" y="4679880"/>
            <a:ext cx="5675086" cy="1792593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081C852E-174E-4427-A524-4E8E14B4B7BA}"/>
              </a:ext>
            </a:extLst>
          </p:cNvPr>
          <p:cNvSpPr txBox="1">
            <a:spLocks/>
          </p:cNvSpPr>
          <p:nvPr/>
        </p:nvSpPr>
        <p:spPr bwMode="auto">
          <a:xfrm rot="20884355">
            <a:off x="7375528" y="519665"/>
            <a:ext cx="3658629" cy="228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121917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0" kern="1200" cap="none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1200" dirty="0">
                <a:solidFill>
                  <a:srgbClr val="FF0000"/>
                </a:solidFill>
              </a:rPr>
              <a:t>From Supply Planning and Forecasting Team</a:t>
            </a:r>
          </a:p>
        </p:txBody>
      </p:sp>
    </p:spTree>
    <p:extLst>
      <p:ext uri="{BB962C8B-B14F-4D97-AF65-F5344CB8AC3E}">
        <p14:creationId xmlns:p14="http://schemas.microsoft.com/office/powerpoint/2010/main" val="829142371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hell WizKit V3_Template_Widescreen_06July2016">
  <a:themeElements>
    <a:clrScheme name="Shell Colour Palette">
      <a:dk1>
        <a:srgbClr val="595959"/>
      </a:dk1>
      <a:lt1>
        <a:srgbClr val="FFFFFF"/>
      </a:lt1>
      <a:dk2>
        <a:srgbClr val="A6A6A6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EB8705"/>
      </a:accent6>
      <a:hlink>
        <a:srgbClr val="000000"/>
      </a:hlink>
      <a:folHlink>
        <a:srgbClr val="000000"/>
      </a:folHlink>
    </a:clrScheme>
    <a:fontScheme name="Shell Theme Fonts">
      <a:majorFont>
        <a:latin typeface="Futura Bold"/>
        <a:ea typeface=""/>
        <a:cs typeface=""/>
      </a:majorFont>
      <a:minorFont>
        <a:latin typeface="Futura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 algn="ctr">
          <a:noFill/>
          <a:miter lim="800000"/>
          <a:headEnd/>
          <a:tailEnd/>
        </a:ln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marL="201613" indent="-201613" defTabSz="357708">
          <a:lnSpc>
            <a:spcPct val="140000"/>
          </a:lnSpc>
          <a:buClr>
            <a:schemeClr val="accent2"/>
          </a:buClr>
          <a:buSzPct val="85000"/>
          <a:buFont typeface="Wingdings" panose="05000000000000000000" pitchFamily="2" charset="2"/>
          <a:buChar char=""/>
          <a:defRPr sz="1600" dirty="0" err="1" smtClean="0">
            <a:solidFill>
              <a:srgbClr val="595959"/>
            </a:solidFill>
          </a:defRPr>
        </a:defPPr>
      </a:lstStyle>
    </a:txDef>
  </a:objectDefaults>
  <a:extraClrSchemeLst/>
  <a:custClrLst>
    <a:custClr name="Shell-yellow">
      <a:srgbClr val="FBCE07"/>
    </a:custClr>
    <a:custClr name="Shell-yellow-60%">
      <a:srgbClr val="FDE26A"/>
    </a:custClr>
    <a:custClr name="Shell-yellow-40%">
      <a:srgbClr val="FDEB9C"/>
    </a:custClr>
    <a:custClr name="Shell-yellow-20%">
      <a:srgbClr val="FEF5CD"/>
    </a:custClr>
    <a:custClr name="Shell-yellow-20%">
      <a:srgbClr val="FEF5CD"/>
    </a:custClr>
    <a:custClr name="Shell-red">
      <a:srgbClr val="DD1D21"/>
    </a:custClr>
    <a:custClr name="Shell-red-60%">
      <a:srgbClr val="EB777A"/>
    </a:custClr>
    <a:custClr name="Shell-red-40%">
      <a:srgbClr val="F1A5A6"/>
    </a:custClr>
    <a:custClr name="Shell-red-20%">
      <a:srgbClr val="F8D2D3"/>
    </a:custClr>
    <a:custClr name="Shell-white">
      <a:srgbClr val="FFFFFF"/>
    </a:custClr>
    <a:custClr name="Shell-black">
      <a:srgbClr val="000000"/>
    </a:custClr>
    <a:custClr name="Shell-very dark grey">
      <a:srgbClr val="404040"/>
    </a:custClr>
    <a:custClr name="Shell-dark grey">
      <a:srgbClr val="595959"/>
    </a:custClr>
    <a:custClr name="Shell-mid grey">
      <a:srgbClr val="7F7F7F"/>
    </a:custClr>
    <a:custClr name="Shell-light grey">
      <a:srgbClr val="A6A6A6"/>
    </a:custClr>
    <a:custClr name="Shell-pale grey">
      <a:srgbClr val="D9D9D9"/>
    </a:custClr>
    <a:custClr name="Shell-very pale grey">
      <a:srgbClr val="F7F7F7"/>
    </a:custClr>
    <a:custClr name="Shell-dark blue">
      <a:srgbClr val="003C88"/>
    </a:custClr>
    <a:custClr name="Shell-dark blue-60%">
      <a:srgbClr val="668AB8"/>
    </a:custClr>
    <a:custClr name="Shell-dark blue-40%">
      <a:srgbClr val="99B1CF"/>
    </a:custClr>
    <a:custClr name="Shell-dark blue-20%">
      <a:srgbClr val="CCD8E7"/>
    </a:custClr>
    <a:custClr name="Shell-mid blue">
      <a:srgbClr val="009EB4"/>
    </a:custClr>
    <a:custClr name="Shell-mid blue-60%">
      <a:srgbClr val="66C5D2"/>
    </a:custClr>
    <a:custClr name="Shell-mid blue-40%">
      <a:srgbClr val="99D8E1"/>
    </a:custClr>
    <a:custClr name="Shell-mid blue-20%">
      <a:srgbClr val="CCECF0"/>
    </a:custClr>
    <a:custClr name="Shell-light blue">
      <a:srgbClr val="89CFDC"/>
    </a:custClr>
    <a:custClr name="Shell-light blue-60%">
      <a:srgbClr val="B8E2EA"/>
    </a:custClr>
    <a:custClr name="Shell-light blue-40%">
      <a:srgbClr val="D0ECF1"/>
    </a:custClr>
    <a:custClr name="Shell-light blue-20%">
      <a:srgbClr val="E7F5F8"/>
    </a:custClr>
    <a:custClr name="Shell-light green">
      <a:srgbClr val="BED50F"/>
    </a:custClr>
    <a:custClr name="Shell-light green-60%">
      <a:srgbClr val="D8E66F"/>
    </a:custClr>
    <a:custClr name="Shell-light green-40%">
      <a:srgbClr val="E5EE9F"/>
    </a:custClr>
    <a:custClr name="Shell-light green-20%">
      <a:srgbClr val="F2F7CF"/>
    </a:custClr>
    <a:custClr name="Shell-dark green">
      <a:srgbClr val="008443"/>
    </a:custClr>
    <a:custClr name="Shell-dark green-60%">
      <a:srgbClr val="66B58E"/>
    </a:custClr>
    <a:custClr name="Shell-dark green-40%">
      <a:srgbClr val="99CEB4"/>
    </a:custClr>
    <a:custClr name="Shell-dark green-20%">
      <a:srgbClr val="CCE6D9"/>
    </a:custClr>
    <a:custClr name="Shell-purple">
      <a:srgbClr val="641964"/>
    </a:custClr>
    <a:custClr name="Shell-purple-60%">
      <a:srgbClr val="A275A2"/>
    </a:custClr>
    <a:custClr name="Shell-purple-40%">
      <a:srgbClr val="C1A3C1"/>
    </a:custClr>
    <a:custClr name="Shell-purple-20%">
      <a:srgbClr val="E0D1E0"/>
    </a:custClr>
    <a:custClr name="Shell-lilac">
      <a:srgbClr val="BA95BE"/>
    </a:custClr>
    <a:custClr name="Shell-lilac-60%">
      <a:srgbClr val="D6BFD8"/>
    </a:custClr>
    <a:custClr name="Shell-lilac-40%">
      <a:srgbClr val="E3D5E5"/>
    </a:custClr>
    <a:custClr name="Shell-orange">
      <a:srgbClr val="EB8705"/>
    </a:custClr>
    <a:custClr name="Shell-orange-60%">
      <a:srgbClr val="F3B769"/>
    </a:custClr>
    <a:custClr name="Shell-orange-40%">
      <a:srgbClr val="F7CF9B"/>
    </a:custClr>
    <a:custClr name="Shell-brown">
      <a:srgbClr val="743410"/>
    </a:custClr>
    <a:custClr name="Shell-brown-60%">
      <a:srgbClr val="AC8570"/>
    </a:custClr>
    <a:custClr name="Shell-brown-40%">
      <a:srgbClr val="C7AE9F"/>
    </a:custClr>
    <a:custClr name="Shell-sand">
      <a:srgbClr val="FFEAC2"/>
    </a:custClr>
  </a:custClrLst>
  <a:extLst>
    <a:ext uri="{05A4C25C-085E-4340-85A3-A5531E510DB2}">
      <thm15:themeFamily xmlns:thm15="http://schemas.microsoft.com/office/thememl/2012/main" name="Shell Template - Widescreen - V33.potx" id="{DCB8EBDD-AD61-4D12-B9D8-0A71DB1F1C72}" vid="{6D69188D-DD7E-4D0E-8AB8-46CCC4C7C1FE}"/>
    </a:ext>
  </a:extLst>
</a:theme>
</file>

<file path=ppt/theme/theme2.xml><?xml version="1.0" encoding="utf-8"?>
<a:theme xmlns:a="http://schemas.openxmlformats.org/drawingml/2006/main" name="Shell layouts with footer">
  <a:themeElements>
    <a:clrScheme name="Shell Colour Palette">
      <a:dk1>
        <a:srgbClr val="404040"/>
      </a:dk1>
      <a:lt1>
        <a:srgbClr val="FFFFFF"/>
      </a:lt1>
      <a:dk2>
        <a:srgbClr val="A6A6A6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EB8705"/>
      </a:accent6>
      <a:hlink>
        <a:srgbClr val="000000"/>
      </a:hlink>
      <a:folHlink>
        <a:srgbClr val="000000"/>
      </a:folHlink>
    </a:clrScheme>
    <a:fontScheme name="Shell Font Theme">
      <a:majorFont>
        <a:latin typeface="ShellBold"/>
        <a:ea typeface=""/>
        <a:cs typeface=""/>
      </a:majorFont>
      <a:minorFont>
        <a:latin typeface="Shell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 algn="ctr">
          <a:noFill/>
          <a:miter lim="800000"/>
          <a:headEnd/>
          <a:tailEnd/>
        </a:ln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marL="201613" indent="-201613" defTabSz="357708">
          <a:lnSpc>
            <a:spcPct val="140000"/>
          </a:lnSpc>
          <a:buClr>
            <a:schemeClr val="accent2"/>
          </a:buClr>
          <a:buSzPct val="85000"/>
          <a:buFont typeface="Wingdings" panose="05000000000000000000" pitchFamily="2" charset="2"/>
          <a:buChar char=""/>
          <a:defRPr sz="1600" dirty="0" err="1" smtClean="0"/>
        </a:defPPr>
      </a:lstStyle>
    </a:txDef>
  </a:objectDefaults>
  <a:extraClrSchemeLst/>
  <a:custClrLst>
    <a:custClr name="Shell-yellow">
      <a:srgbClr val="FBCE07"/>
    </a:custClr>
    <a:custClr name="Shell-yellow-60%">
      <a:srgbClr val="FDE26A"/>
    </a:custClr>
    <a:custClr name="Shell-yellow-40%">
      <a:srgbClr val="FDEB9C"/>
    </a:custClr>
    <a:custClr name="Shell-yellow-20%">
      <a:srgbClr val="FEF5CD"/>
    </a:custClr>
    <a:custClr name="Shell-yellow-20%">
      <a:srgbClr val="FEF5CD"/>
    </a:custClr>
    <a:custClr name="Shell-red">
      <a:srgbClr val="DD1D21"/>
    </a:custClr>
    <a:custClr name="Shell-red-60%">
      <a:srgbClr val="EB777A"/>
    </a:custClr>
    <a:custClr name="Shell-red-40%">
      <a:srgbClr val="F1A5A6"/>
    </a:custClr>
    <a:custClr name="Shell-red-20%">
      <a:srgbClr val="F8D2D3"/>
    </a:custClr>
    <a:custClr name="Shell-white">
      <a:srgbClr val="FFFFFF"/>
    </a:custClr>
    <a:custClr name="Shell-black">
      <a:srgbClr val="000000"/>
    </a:custClr>
    <a:custClr name="Shell-very dark grey">
      <a:srgbClr val="404040"/>
    </a:custClr>
    <a:custClr name="Shell-dark grey">
      <a:srgbClr val="595959"/>
    </a:custClr>
    <a:custClr name="Shell-mid grey">
      <a:srgbClr val="7F7F7F"/>
    </a:custClr>
    <a:custClr name="Shell-light grey">
      <a:srgbClr val="A6A6A6"/>
    </a:custClr>
    <a:custClr name="Shell-pale grey">
      <a:srgbClr val="D9D9D9"/>
    </a:custClr>
    <a:custClr name="Shell-very pale grey">
      <a:srgbClr val="F7F7F7"/>
    </a:custClr>
    <a:custClr name="Shell-dark blue">
      <a:srgbClr val="003C88"/>
    </a:custClr>
    <a:custClr name="Shell-dark blue-60%">
      <a:srgbClr val="668AB8"/>
    </a:custClr>
    <a:custClr name="Shell-dark blue-40%">
      <a:srgbClr val="99B1CF"/>
    </a:custClr>
    <a:custClr name="Shell-dark blue-20%">
      <a:srgbClr val="CCD8E7"/>
    </a:custClr>
    <a:custClr name="Shell-mid blue">
      <a:srgbClr val="009EB4"/>
    </a:custClr>
    <a:custClr name="Shell-mid blue-60%">
      <a:srgbClr val="66C5D2"/>
    </a:custClr>
    <a:custClr name="Shell-mid blue-40%">
      <a:srgbClr val="99D8E1"/>
    </a:custClr>
    <a:custClr name="Shell-mid blue-20%">
      <a:srgbClr val="CCECF0"/>
    </a:custClr>
    <a:custClr name="Shell-light blue">
      <a:srgbClr val="89CFDC"/>
    </a:custClr>
    <a:custClr name="Shell-light blue-60%">
      <a:srgbClr val="B8E2EA"/>
    </a:custClr>
    <a:custClr name="Shell-light blue-40%">
      <a:srgbClr val="D0ECF1"/>
    </a:custClr>
    <a:custClr name="Shell-light blue-20%">
      <a:srgbClr val="E7F5F8"/>
    </a:custClr>
    <a:custClr name="Shell-light green">
      <a:srgbClr val="BED50F"/>
    </a:custClr>
    <a:custClr name="Shell-light green-60%">
      <a:srgbClr val="D8E66F"/>
    </a:custClr>
    <a:custClr name="Shell-light green-40%">
      <a:srgbClr val="E5EE9F"/>
    </a:custClr>
    <a:custClr name="Shell-light green-20%">
      <a:srgbClr val="F2F7CF"/>
    </a:custClr>
    <a:custClr name="Shell-dark green">
      <a:srgbClr val="008443"/>
    </a:custClr>
    <a:custClr name="Shell-dark green-60%">
      <a:srgbClr val="66B58E"/>
    </a:custClr>
    <a:custClr name="Shell-dark green-40%">
      <a:srgbClr val="99CEB4"/>
    </a:custClr>
    <a:custClr name="Shell-dark green-20%">
      <a:srgbClr val="CCE6D9"/>
    </a:custClr>
    <a:custClr name="Shell-purple">
      <a:srgbClr val="641964"/>
    </a:custClr>
    <a:custClr name="Shell-purple-60%">
      <a:srgbClr val="A275A2"/>
    </a:custClr>
    <a:custClr name="Shell-purple-40%">
      <a:srgbClr val="C1A3C1"/>
    </a:custClr>
    <a:custClr name="Shell-purple-20%">
      <a:srgbClr val="E0D1E0"/>
    </a:custClr>
    <a:custClr name="Shell-lilac">
      <a:srgbClr val="BA95BE"/>
    </a:custClr>
    <a:custClr name="Shell-lilac-60%">
      <a:srgbClr val="D6BFD8"/>
    </a:custClr>
    <a:custClr name="Shell-lilac-40%">
      <a:srgbClr val="E3D5E5"/>
    </a:custClr>
    <a:custClr name="Shell-orange">
      <a:srgbClr val="EB8705"/>
    </a:custClr>
    <a:custClr name="Shell-orange-60%">
      <a:srgbClr val="F3B769"/>
    </a:custClr>
    <a:custClr name="Shell-orange-40%">
      <a:srgbClr val="F7CF9B"/>
    </a:custClr>
    <a:custClr name="Shell-brown">
      <a:srgbClr val="743410"/>
    </a:custClr>
    <a:custClr name="Shell-brown-60%">
      <a:srgbClr val="AC8570"/>
    </a:custClr>
    <a:custClr name="Shell-brown-40%">
      <a:srgbClr val="C7AE9F"/>
    </a:custClr>
    <a:custClr name="Shell-sand">
      <a:srgbClr val="FFEAC2"/>
    </a:custClr>
  </a:custClrLst>
  <a:extLst>
    <a:ext uri="{05A4C25C-085E-4340-85A3-A5531E510DB2}">
      <thm15:themeFamily xmlns:thm15="http://schemas.microsoft.com/office/thememl/2012/main" name="Onscreen;2057;Pos1;Date1;Widescreen Shell template - 16x9.potx" id="{B20C2A06-95ED-4DA1-BD89-698BD9DEA119}" vid="{4B1A5DAB-726D-47E8-8AED-8FB09D74DAFB}"/>
    </a:ext>
  </a:extLst>
</a:theme>
</file>

<file path=ppt/theme/theme3.xml><?xml version="1.0" encoding="utf-8"?>
<a:theme xmlns:a="http://schemas.openxmlformats.org/drawingml/2006/main" name="1_Shell layouts with footer">
  <a:themeElements>
    <a:clrScheme name="Shell Colour Palette">
      <a:dk1>
        <a:srgbClr val="404040"/>
      </a:dk1>
      <a:lt1>
        <a:srgbClr val="FFFFFF"/>
      </a:lt1>
      <a:dk2>
        <a:srgbClr val="A6A6A6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EB8705"/>
      </a:accent6>
      <a:hlink>
        <a:srgbClr val="000000"/>
      </a:hlink>
      <a:folHlink>
        <a:srgbClr val="000000"/>
      </a:folHlink>
    </a:clrScheme>
    <a:fontScheme name="Shell Font Theme">
      <a:majorFont>
        <a:latin typeface="ShellBold"/>
        <a:ea typeface=""/>
        <a:cs typeface=""/>
      </a:majorFont>
      <a:minorFont>
        <a:latin typeface="Shell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 algn="ctr">
          <a:noFill/>
          <a:miter lim="800000"/>
          <a:headEnd/>
          <a:tailEnd/>
        </a:ln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marL="201613" indent="-201613" defTabSz="357708">
          <a:lnSpc>
            <a:spcPct val="140000"/>
          </a:lnSpc>
          <a:buClr>
            <a:schemeClr val="accent2"/>
          </a:buClr>
          <a:buSzPct val="85000"/>
          <a:buFont typeface="Wingdings" panose="05000000000000000000" pitchFamily="2" charset="2"/>
          <a:buChar char=""/>
          <a:defRPr sz="1600" dirty="0" err="1" smtClean="0"/>
        </a:defPPr>
      </a:lstStyle>
    </a:txDef>
  </a:objectDefaults>
  <a:extraClrSchemeLst/>
  <a:custClrLst>
    <a:custClr name="Shell-yellow">
      <a:srgbClr val="FBCE07"/>
    </a:custClr>
    <a:custClr name="Shell-yellow-60%">
      <a:srgbClr val="FDE26A"/>
    </a:custClr>
    <a:custClr name="Shell-yellow-40%">
      <a:srgbClr val="FDEB9C"/>
    </a:custClr>
    <a:custClr name="Shell-yellow-20%">
      <a:srgbClr val="FEF5CD"/>
    </a:custClr>
    <a:custClr name="Shell-yellow-20%">
      <a:srgbClr val="FEF5CD"/>
    </a:custClr>
    <a:custClr name="Shell-red">
      <a:srgbClr val="DD1D21"/>
    </a:custClr>
    <a:custClr name="Shell-red-60%">
      <a:srgbClr val="EB777A"/>
    </a:custClr>
    <a:custClr name="Shell-red-40%">
      <a:srgbClr val="F1A5A6"/>
    </a:custClr>
    <a:custClr name="Shell-red-20%">
      <a:srgbClr val="F8D2D3"/>
    </a:custClr>
    <a:custClr name="Shell-white">
      <a:srgbClr val="FFFFFF"/>
    </a:custClr>
    <a:custClr name="Shell-black">
      <a:srgbClr val="000000"/>
    </a:custClr>
    <a:custClr name="Shell-very dark grey">
      <a:srgbClr val="404040"/>
    </a:custClr>
    <a:custClr name="Shell-dark grey">
      <a:srgbClr val="595959"/>
    </a:custClr>
    <a:custClr name="Shell-mid grey">
      <a:srgbClr val="7F7F7F"/>
    </a:custClr>
    <a:custClr name="Shell-light grey">
      <a:srgbClr val="A6A6A6"/>
    </a:custClr>
    <a:custClr name="Shell-pale grey">
      <a:srgbClr val="D9D9D9"/>
    </a:custClr>
    <a:custClr name="Shell-very pale grey">
      <a:srgbClr val="F7F7F7"/>
    </a:custClr>
    <a:custClr name="Shell-dark blue">
      <a:srgbClr val="003C88"/>
    </a:custClr>
    <a:custClr name="Shell-dark blue-60%">
      <a:srgbClr val="668AB8"/>
    </a:custClr>
    <a:custClr name="Shell-dark blue-40%">
      <a:srgbClr val="99B1CF"/>
    </a:custClr>
    <a:custClr name="Shell-dark blue-20%">
      <a:srgbClr val="CCD8E7"/>
    </a:custClr>
    <a:custClr name="Shell-mid blue">
      <a:srgbClr val="009EB4"/>
    </a:custClr>
    <a:custClr name="Shell-mid blue-60%">
      <a:srgbClr val="66C5D2"/>
    </a:custClr>
    <a:custClr name="Shell-mid blue-40%">
      <a:srgbClr val="99D8E1"/>
    </a:custClr>
    <a:custClr name="Shell-mid blue-20%">
      <a:srgbClr val="CCECF0"/>
    </a:custClr>
    <a:custClr name="Shell-light blue">
      <a:srgbClr val="89CFDC"/>
    </a:custClr>
    <a:custClr name="Shell-light blue-60%">
      <a:srgbClr val="B8E2EA"/>
    </a:custClr>
    <a:custClr name="Shell-light blue-40%">
      <a:srgbClr val="D0ECF1"/>
    </a:custClr>
    <a:custClr name="Shell-light blue-20%">
      <a:srgbClr val="E7F5F8"/>
    </a:custClr>
    <a:custClr name="Shell-light green">
      <a:srgbClr val="BED50F"/>
    </a:custClr>
    <a:custClr name="Shell-light green-60%">
      <a:srgbClr val="D8E66F"/>
    </a:custClr>
    <a:custClr name="Shell-light green-40%">
      <a:srgbClr val="E5EE9F"/>
    </a:custClr>
    <a:custClr name="Shell-light green-20%">
      <a:srgbClr val="F2F7CF"/>
    </a:custClr>
    <a:custClr name="Shell-dark green">
      <a:srgbClr val="008443"/>
    </a:custClr>
    <a:custClr name="Shell-dark green-60%">
      <a:srgbClr val="66B58E"/>
    </a:custClr>
    <a:custClr name="Shell-dark green-40%">
      <a:srgbClr val="99CEB4"/>
    </a:custClr>
    <a:custClr name="Shell-dark green-20%">
      <a:srgbClr val="CCE6D9"/>
    </a:custClr>
    <a:custClr name="Shell-purple">
      <a:srgbClr val="641964"/>
    </a:custClr>
    <a:custClr name="Shell-purple-60%">
      <a:srgbClr val="A275A2"/>
    </a:custClr>
    <a:custClr name="Shell-purple-40%">
      <a:srgbClr val="C1A3C1"/>
    </a:custClr>
    <a:custClr name="Shell-purple-20%">
      <a:srgbClr val="E0D1E0"/>
    </a:custClr>
    <a:custClr name="Shell-lilac">
      <a:srgbClr val="BA95BE"/>
    </a:custClr>
    <a:custClr name="Shell-lilac-60%">
      <a:srgbClr val="D6BFD8"/>
    </a:custClr>
    <a:custClr name="Shell-lilac-40%">
      <a:srgbClr val="E3D5E5"/>
    </a:custClr>
    <a:custClr name="Shell-orange">
      <a:srgbClr val="EB8705"/>
    </a:custClr>
    <a:custClr name="Shell-orange-60%">
      <a:srgbClr val="F3B769"/>
    </a:custClr>
    <a:custClr name="Shell-orange-40%">
      <a:srgbClr val="F7CF9B"/>
    </a:custClr>
    <a:custClr name="Shell-brown">
      <a:srgbClr val="743410"/>
    </a:custClr>
    <a:custClr name="Shell-brown-60%">
      <a:srgbClr val="AC8570"/>
    </a:custClr>
    <a:custClr name="Shell-brown-40%">
      <a:srgbClr val="C7AE9F"/>
    </a:custClr>
    <a:custClr name="Shell-sand">
      <a:srgbClr val="FFEAC2"/>
    </a:custClr>
  </a:custClrLst>
  <a:extLst>
    <a:ext uri="{05A4C25C-085E-4340-85A3-A5531E510DB2}">
      <thm15:themeFamily xmlns:thm15="http://schemas.microsoft.com/office/thememl/2012/main" name="Onscreen;2057;Pos1;Date1;Widescreen Shell template - 16x9.potx" id="{F99105CB-A4F5-413F-A47E-DB01C9EA953F}" vid="{8469B93A-448D-4F50-A8E8-884986DC6B4E}"/>
    </a:ext>
  </a:extLst>
</a:theme>
</file>

<file path=ppt/theme/theme4.xml><?xml version="1.0" encoding="utf-8"?>
<a:theme xmlns:a="http://schemas.openxmlformats.org/drawingml/2006/main" name="Office Theme">
  <a:themeElements>
    <a:clrScheme name="Shell Colour Palette">
      <a:dk1>
        <a:srgbClr val="595959"/>
      </a:dk1>
      <a:lt1>
        <a:srgbClr val="FFFFFF"/>
      </a:lt1>
      <a:dk2>
        <a:srgbClr val="A6A6A6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EB8705"/>
      </a:accent6>
      <a:hlink>
        <a:srgbClr val="00000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Shell Colour Palette">
      <a:dk1>
        <a:srgbClr val="595959"/>
      </a:dk1>
      <a:lt1>
        <a:srgbClr val="FFFFFF"/>
      </a:lt1>
      <a:dk2>
        <a:srgbClr val="A6A6A6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EB8705"/>
      </a:accent6>
      <a:hlink>
        <a:srgbClr val="00000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6ed06f0e-200f-499c-8fa2-ed43eeca9551">AFFAA0074-7-4040</_dlc_DocId>
    <_dlc_DocIdUrl xmlns="6ed06f0e-200f-499c-8fa2-ed43eeca9551">
      <Url>https://nga001-sp.shell.com/sites/AFFAA0074/_layouts/15/DocIdRedir.aspx?ID=AFFAA0074-7-4040</Url>
      <Description>AFFAA0074-7-4040</Description>
    </_dlc_DocIdUrl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C35E97C73C4CB438649AFD8DB8D4A4E" ma:contentTypeVersion="0" ma:contentTypeDescription="Create a new document." ma:contentTypeScope="" ma:versionID="f2ea8cfd991230d012c1c0b2793632b5">
  <xsd:schema xmlns:xsd="http://www.w3.org/2001/XMLSchema" xmlns:xs="http://www.w3.org/2001/XMLSchema" xmlns:p="http://schemas.microsoft.com/office/2006/metadata/properties" xmlns:ns2="6ed06f0e-200f-499c-8fa2-ed43eeca9551" targetNamespace="http://schemas.microsoft.com/office/2006/metadata/properties" ma:root="true" ma:fieldsID="bbb0e632b7361726ce7bfc08dfff0aca" ns2:_="">
    <xsd:import namespace="6ed06f0e-200f-499c-8fa2-ed43eeca9551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ed06f0e-200f-499c-8fa2-ed43eeca9551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92C09F6C-5242-455E-86CD-ED8D0B9C9CA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8F40022-9582-46A2-A0DE-1DE0DC1111BB}">
  <ds:schemaRefs>
    <ds:schemaRef ds:uri="http://purl.org/dc/elements/1.1/"/>
    <ds:schemaRef ds:uri="http://schemas.microsoft.com/office/2006/metadata/properties"/>
    <ds:schemaRef ds:uri="6ed06f0e-200f-499c-8fa2-ed43eeca9551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35A958EC-3543-4EB6-9935-C749FA93FF4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ed06f0e-200f-499c-8fa2-ed43eeca955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E56479B2-38D7-473C-964B-21AF6B81E079}">
  <ds:schemaRefs>
    <ds:schemaRef ds:uri="http://schemas.microsoft.com/sharepoint/events"/>
  </ds:schemaRefs>
</ds:datastoreItem>
</file>

<file path=docMetadata/LabelInfo.xml><?xml version="1.0" encoding="utf-8"?>
<clbl:labelList xmlns:clbl="http://schemas.microsoft.com/office/2020/mipLabelMetadata">
  <clbl:label id="{d0cb1e24-a0e2-4a4c-9340-733297c9cd7c}" enabled="1" method="Privileged" siteId="{db1e96a8-a3da-442a-930b-235cac24cd5c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Shell WizKit V3_Template_Widescreen_07june2016</Template>
  <TotalTime>19636</TotalTime>
  <Words>550</Words>
  <Application>Microsoft Office PowerPoint</Application>
  <PresentationFormat>Widescreen</PresentationFormat>
  <Paragraphs>48</Paragraphs>
  <Slides>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4" baseType="lpstr">
      <vt:lpstr>Futura Bold</vt:lpstr>
      <vt:lpstr>ShellMedium</vt:lpstr>
      <vt:lpstr>Wingdings</vt:lpstr>
      <vt:lpstr>Futura Medium</vt:lpstr>
      <vt:lpstr>Arial</vt:lpstr>
      <vt:lpstr>ShellBold</vt:lpstr>
      <vt:lpstr>Shell WizKit V3_Template_Widescreen_06July2016</vt:lpstr>
      <vt:lpstr>Shell layouts with footer</vt:lpstr>
      <vt:lpstr>1_Shell layouts with footer</vt:lpstr>
      <vt:lpstr>think-cell Slide</vt:lpstr>
      <vt:lpstr>Etelebou Routine Flaring Elimination</vt:lpstr>
      <vt:lpstr>PowerPoint Presentation</vt:lpstr>
      <vt:lpstr>PowerPoint Presentation</vt:lpstr>
      <vt:lpstr>Etelebou CDE Reservoirs Development</vt:lpstr>
    </vt:vector>
  </TitlesOfParts>
  <Company>Shel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in presentation title  Second title line if required</dc:title>
  <dc:creator>Femi O SPDC-PTD/C/NCC</dc:creator>
  <cp:lastModifiedBy>Taylor-Harry, Tamunoemi SPDC-UPC/G/UCI</cp:lastModifiedBy>
  <cp:revision>376</cp:revision>
  <cp:lastPrinted>2016-07-15T10:24:53Z</cp:lastPrinted>
  <dcterms:created xsi:type="dcterms:W3CDTF">2016-07-14T09:25:04Z</dcterms:created>
  <dcterms:modified xsi:type="dcterms:W3CDTF">2023-03-16T06:45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WizKit Template Type">
    <vt:lpwstr>Widescreen</vt:lpwstr>
  </property>
  <property fmtid="{D5CDD505-2E9C-101B-9397-08002B2CF9AE}" pid="3" name="WizKit Template Version">
    <vt:i4>4</vt:i4>
  </property>
  <property fmtid="{D5CDD505-2E9C-101B-9397-08002B2CF9AE}" pid="4" name="ContentTypeId">
    <vt:lpwstr>0x0101006C35E97C73C4CB438649AFD8DB8D4A4E</vt:lpwstr>
  </property>
  <property fmtid="{D5CDD505-2E9C-101B-9397-08002B2CF9AE}" pid="5" name="_dlc_DocIdItemGuid">
    <vt:lpwstr>3818e1f0-88c7-47e4-af83-80f4bb3afebd</vt:lpwstr>
  </property>
</Properties>
</file>